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 id="2147483956" r:id="rId5"/>
  </p:sldMasterIdLst>
  <p:notesMasterIdLst>
    <p:notesMasterId r:id="rId150"/>
  </p:notesMasterIdLst>
  <p:sldIdLst>
    <p:sldId id="2147476952" r:id="rId6"/>
    <p:sldId id="2147476953" r:id="rId7"/>
    <p:sldId id="2147476954" r:id="rId8"/>
    <p:sldId id="2147476955" r:id="rId9"/>
    <p:sldId id="2147476956" r:id="rId10"/>
    <p:sldId id="2147476957" r:id="rId11"/>
    <p:sldId id="2147476958" r:id="rId12"/>
    <p:sldId id="2147476959" r:id="rId13"/>
    <p:sldId id="2147476960" r:id="rId14"/>
    <p:sldId id="2147476961" r:id="rId15"/>
    <p:sldId id="2147476962" r:id="rId16"/>
    <p:sldId id="2147476963" r:id="rId17"/>
    <p:sldId id="2147476964" r:id="rId18"/>
    <p:sldId id="2147476965" r:id="rId19"/>
    <p:sldId id="2147476966" r:id="rId20"/>
    <p:sldId id="2147476967" r:id="rId21"/>
    <p:sldId id="2147476968" r:id="rId22"/>
    <p:sldId id="2147476969" r:id="rId23"/>
    <p:sldId id="2147476970" r:id="rId24"/>
    <p:sldId id="2147476971" r:id="rId25"/>
    <p:sldId id="2147476972" r:id="rId26"/>
    <p:sldId id="2147476973" r:id="rId27"/>
    <p:sldId id="2147476974" r:id="rId28"/>
    <p:sldId id="2147476975" r:id="rId29"/>
    <p:sldId id="2147476976" r:id="rId30"/>
    <p:sldId id="2147476977" r:id="rId31"/>
    <p:sldId id="2147476978" r:id="rId32"/>
    <p:sldId id="2147476979" r:id="rId33"/>
    <p:sldId id="2147476980" r:id="rId34"/>
    <p:sldId id="2147476981" r:id="rId35"/>
    <p:sldId id="2147476982" r:id="rId36"/>
    <p:sldId id="2147476983" r:id="rId37"/>
    <p:sldId id="2147476984" r:id="rId38"/>
    <p:sldId id="2147476985" r:id="rId39"/>
    <p:sldId id="2147476986" r:id="rId40"/>
    <p:sldId id="2147476987" r:id="rId41"/>
    <p:sldId id="2147476988" r:id="rId42"/>
    <p:sldId id="2147476989" r:id="rId43"/>
    <p:sldId id="2147476990" r:id="rId44"/>
    <p:sldId id="2147476991" r:id="rId45"/>
    <p:sldId id="2147476992" r:id="rId46"/>
    <p:sldId id="2147476993" r:id="rId47"/>
    <p:sldId id="2147476994" r:id="rId48"/>
    <p:sldId id="2147476995" r:id="rId49"/>
    <p:sldId id="2147476996" r:id="rId50"/>
    <p:sldId id="2147476997" r:id="rId51"/>
    <p:sldId id="2147476998" r:id="rId52"/>
    <p:sldId id="2147476999" r:id="rId53"/>
    <p:sldId id="2147477000" r:id="rId54"/>
    <p:sldId id="2147477001" r:id="rId55"/>
    <p:sldId id="2147477002" r:id="rId56"/>
    <p:sldId id="2147477003" r:id="rId57"/>
    <p:sldId id="2147477004" r:id="rId58"/>
    <p:sldId id="2147477005" r:id="rId59"/>
    <p:sldId id="2147477006" r:id="rId60"/>
    <p:sldId id="2147477007" r:id="rId61"/>
    <p:sldId id="2147477008" r:id="rId62"/>
    <p:sldId id="2147477009" r:id="rId63"/>
    <p:sldId id="2147477010" r:id="rId64"/>
    <p:sldId id="2147477011" r:id="rId65"/>
    <p:sldId id="2147477012" r:id="rId66"/>
    <p:sldId id="2147477013" r:id="rId67"/>
    <p:sldId id="2147477014" r:id="rId68"/>
    <p:sldId id="2147477015" r:id="rId69"/>
    <p:sldId id="2147477016" r:id="rId70"/>
    <p:sldId id="2147477017" r:id="rId71"/>
    <p:sldId id="2147477018" r:id="rId72"/>
    <p:sldId id="2147477019" r:id="rId73"/>
    <p:sldId id="2147477020" r:id="rId74"/>
    <p:sldId id="2147477021" r:id="rId75"/>
    <p:sldId id="2147477022" r:id="rId76"/>
    <p:sldId id="2147477023" r:id="rId77"/>
    <p:sldId id="2147477024" r:id="rId78"/>
    <p:sldId id="2147477025" r:id="rId79"/>
    <p:sldId id="2147477026" r:id="rId80"/>
    <p:sldId id="2147477027" r:id="rId81"/>
    <p:sldId id="2147477028" r:id="rId82"/>
    <p:sldId id="2147477029" r:id="rId83"/>
    <p:sldId id="2147477030" r:id="rId84"/>
    <p:sldId id="2147477031" r:id="rId85"/>
    <p:sldId id="2147477032" r:id="rId86"/>
    <p:sldId id="2147477033" r:id="rId87"/>
    <p:sldId id="2147477034" r:id="rId88"/>
    <p:sldId id="2147477035" r:id="rId89"/>
    <p:sldId id="2147477036" r:id="rId90"/>
    <p:sldId id="2147477037" r:id="rId91"/>
    <p:sldId id="2147477038" r:id="rId92"/>
    <p:sldId id="2147477039" r:id="rId93"/>
    <p:sldId id="2147477040" r:id="rId94"/>
    <p:sldId id="2147477041" r:id="rId95"/>
    <p:sldId id="2147477042" r:id="rId96"/>
    <p:sldId id="2147477043" r:id="rId97"/>
    <p:sldId id="2147477044" r:id="rId98"/>
    <p:sldId id="2147477045" r:id="rId99"/>
    <p:sldId id="2147477046" r:id="rId100"/>
    <p:sldId id="2147477047" r:id="rId101"/>
    <p:sldId id="2147477048" r:id="rId102"/>
    <p:sldId id="2147477049" r:id="rId103"/>
    <p:sldId id="2147477050" r:id="rId104"/>
    <p:sldId id="2147477051" r:id="rId105"/>
    <p:sldId id="2147477052" r:id="rId106"/>
    <p:sldId id="2147477053" r:id="rId107"/>
    <p:sldId id="2147477054" r:id="rId108"/>
    <p:sldId id="2147477055" r:id="rId109"/>
    <p:sldId id="2147477056" r:id="rId110"/>
    <p:sldId id="2147477057" r:id="rId111"/>
    <p:sldId id="2147477058" r:id="rId112"/>
    <p:sldId id="2147477059" r:id="rId113"/>
    <p:sldId id="2147477060" r:id="rId114"/>
    <p:sldId id="2147477061" r:id="rId115"/>
    <p:sldId id="2147477062" r:id="rId116"/>
    <p:sldId id="2147477063" r:id="rId117"/>
    <p:sldId id="2147477064" r:id="rId118"/>
    <p:sldId id="2147477065" r:id="rId119"/>
    <p:sldId id="2147477066" r:id="rId120"/>
    <p:sldId id="2147477067" r:id="rId121"/>
    <p:sldId id="2147477068" r:id="rId122"/>
    <p:sldId id="2147477069" r:id="rId123"/>
    <p:sldId id="2147477070" r:id="rId124"/>
    <p:sldId id="2147477071" r:id="rId125"/>
    <p:sldId id="2147477072" r:id="rId126"/>
    <p:sldId id="2147477073" r:id="rId127"/>
    <p:sldId id="2147477074" r:id="rId128"/>
    <p:sldId id="2147477075" r:id="rId129"/>
    <p:sldId id="2147477076" r:id="rId130"/>
    <p:sldId id="2147477077" r:id="rId131"/>
    <p:sldId id="2147477078" r:id="rId132"/>
    <p:sldId id="2147477079" r:id="rId133"/>
    <p:sldId id="2147477080" r:id="rId134"/>
    <p:sldId id="2147477081" r:id="rId135"/>
    <p:sldId id="2147477082" r:id="rId136"/>
    <p:sldId id="2147477083" r:id="rId137"/>
    <p:sldId id="2147477084" r:id="rId138"/>
    <p:sldId id="2147477085" r:id="rId139"/>
    <p:sldId id="2147477086" r:id="rId140"/>
    <p:sldId id="2147477087" r:id="rId141"/>
    <p:sldId id="2147477088" r:id="rId142"/>
    <p:sldId id="2147477089" r:id="rId143"/>
    <p:sldId id="2147477090" r:id="rId144"/>
    <p:sldId id="2147477091" r:id="rId145"/>
    <p:sldId id="2147477092" r:id="rId146"/>
    <p:sldId id="2147477093" r:id="rId147"/>
    <p:sldId id="2147477094" r:id="rId148"/>
    <p:sldId id="2147477095" r:id="rId1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Elasticity" id="{354348EB-56A6-4A2E-903C-5E0A9CABEE32}">
          <p14:sldIdLst>
            <p14:sldId id="2147476952"/>
            <p14:sldId id="2147476953"/>
            <p14:sldId id="2147476954"/>
            <p14:sldId id="2147476955"/>
          </p14:sldIdLst>
        </p14:section>
        <p14:section name="Brand Sourcing Analysis" id="{E5963942-A696-4912-B23C-8BAD11498BB2}">
          <p14:sldIdLst>
            <p14:sldId id="2147476956"/>
            <p14:sldId id="2147476957"/>
            <p14:sldId id="2147476958"/>
            <p14:sldId id="2147476959"/>
            <p14:sldId id="2147476960"/>
            <p14:sldId id="2147476961"/>
            <p14:sldId id="2147476962"/>
            <p14:sldId id="2147476963"/>
            <p14:sldId id="2147476964"/>
            <p14:sldId id="2147476965"/>
            <p14:sldId id="2147476966"/>
            <p14:sldId id="2147476967"/>
            <p14:sldId id="2147476968"/>
            <p14:sldId id="2147476969"/>
            <p14:sldId id="2147476970"/>
            <p14:sldId id="2147476971"/>
            <p14:sldId id="2147476972"/>
          </p14:sldIdLst>
        </p14:section>
        <p14:section name="Product Sourcing Analysis" id="{CFD611BE-12B6-4A05-A808-58FB3B4942D0}">
          <p14:sldIdLst>
            <p14:sldId id="2147476973"/>
            <p14:sldId id="2147476974"/>
            <p14:sldId id="2147476975"/>
            <p14:sldId id="2147476976"/>
            <p14:sldId id="2147476977"/>
            <p14:sldId id="2147476978"/>
            <p14:sldId id="2147476979"/>
            <p14:sldId id="2147476980"/>
            <p14:sldId id="2147476981"/>
            <p14:sldId id="2147476982"/>
            <p14:sldId id="2147476983"/>
            <p14:sldId id="2147476984"/>
            <p14:sldId id="2147476985"/>
            <p14:sldId id="2147476986"/>
            <p14:sldId id="2147476987"/>
            <p14:sldId id="2147476988"/>
            <p14:sldId id="2147476989"/>
            <p14:sldId id="2147476990"/>
            <p14:sldId id="2147476991"/>
            <p14:sldId id="2147476992"/>
            <p14:sldId id="2147476993"/>
            <p14:sldId id="2147476994"/>
            <p14:sldId id="2147476995"/>
            <p14:sldId id="2147476996"/>
            <p14:sldId id="2147476997"/>
            <p14:sldId id="2147476998"/>
            <p14:sldId id="2147476999"/>
            <p14:sldId id="2147477000"/>
            <p14:sldId id="2147477001"/>
            <p14:sldId id="2147477002"/>
            <p14:sldId id="2147477003"/>
            <p14:sldId id="2147477004"/>
            <p14:sldId id="2147477005"/>
            <p14:sldId id="2147477006"/>
            <p14:sldId id="2147477007"/>
            <p14:sldId id="2147477008"/>
            <p14:sldId id="2147477009"/>
            <p14:sldId id="2147477010"/>
            <p14:sldId id="2147477011"/>
            <p14:sldId id="2147477012"/>
            <p14:sldId id="2147477013"/>
            <p14:sldId id="2147477014"/>
            <p14:sldId id="2147477015"/>
            <p14:sldId id="2147477016"/>
            <p14:sldId id="2147477017"/>
            <p14:sldId id="2147477018"/>
            <p14:sldId id="2147477019"/>
            <p14:sldId id="2147477020"/>
          </p14:sldIdLst>
        </p14:section>
        <p14:section name="Price Elasticity Curve" id="{989AAA6D-8C26-4BBF-93AF-FA8A657C1A88}">
          <p14:sldIdLst>
            <p14:sldId id="2147477021"/>
            <p14:sldId id="2147477022"/>
            <p14:sldId id="2147477023"/>
            <p14:sldId id="2147477024"/>
            <p14:sldId id="2147477025"/>
            <p14:sldId id="2147477026"/>
            <p14:sldId id="2147477027"/>
            <p14:sldId id="2147477028"/>
            <p14:sldId id="2147477029"/>
            <p14:sldId id="2147477030"/>
            <p14:sldId id="2147477031"/>
            <p14:sldId id="2147477032"/>
            <p14:sldId id="2147477033"/>
            <p14:sldId id="2147477034"/>
            <p14:sldId id="2147477035"/>
            <p14:sldId id="2147477036"/>
            <p14:sldId id="2147477037"/>
            <p14:sldId id="2147477038"/>
            <p14:sldId id="2147477039"/>
            <p14:sldId id="2147477040"/>
            <p14:sldId id="2147477041"/>
            <p14:sldId id="2147477042"/>
          </p14:sldIdLst>
        </p14:section>
        <p14:section name="Revenue Response Analysis" id="{0E1F9C81-9235-4CA0-B9E3-25C0FF2B101B}">
          <p14:sldIdLst>
            <p14:sldId id="2147477043"/>
            <p14:sldId id="2147477044"/>
            <p14:sldId id="2147477045"/>
            <p14:sldId id="2147477046"/>
            <p14:sldId id="2147477047"/>
            <p14:sldId id="2147477048"/>
            <p14:sldId id="2147477049"/>
            <p14:sldId id="2147477050"/>
            <p14:sldId id="2147477051"/>
            <p14:sldId id="2147477052"/>
            <p14:sldId id="2147477053"/>
            <p14:sldId id="2147477054"/>
            <p14:sldId id="2147477055"/>
            <p14:sldId id="2147477056"/>
            <p14:sldId id="2147477057"/>
            <p14:sldId id="2147477058"/>
            <p14:sldId id="2147477059"/>
            <p14:sldId id="2147477060"/>
            <p14:sldId id="2147477061"/>
            <p14:sldId id="2147477062"/>
            <p14:sldId id="2147477063"/>
            <p14:sldId id="2147477064"/>
            <p14:sldId id="2147477065"/>
            <p14:sldId id="2147477066"/>
            <p14:sldId id="2147477067"/>
            <p14:sldId id="2147477068"/>
            <p14:sldId id="2147477069"/>
            <p14:sldId id="2147477070"/>
            <p14:sldId id="2147477071"/>
            <p14:sldId id="2147477072"/>
            <p14:sldId id="2147477073"/>
            <p14:sldId id="2147477074"/>
            <p14:sldId id="2147477075"/>
            <p14:sldId id="2147477076"/>
            <p14:sldId id="2147477077"/>
            <p14:sldId id="2147477078"/>
            <p14:sldId id="2147477079"/>
            <p14:sldId id="2147477080"/>
            <p14:sldId id="2147477081"/>
            <p14:sldId id="2147477082"/>
            <p14:sldId id="2147477083"/>
            <p14:sldId id="2147477084"/>
            <p14:sldId id="2147477085"/>
            <p14:sldId id="2147477086"/>
            <p14:sldId id="2147477087"/>
            <p14:sldId id="2147477088"/>
            <p14:sldId id="2147477089"/>
            <p14:sldId id="2147477090"/>
          </p14:sldIdLst>
        </p14:section>
        <p14:section name="Size Elasticity" id="{F00BCBF8-1E26-4600-AC3C-0D351B7C55C0}">
          <p14:sldIdLst>
            <p14:sldId id="2147477091"/>
            <p14:sldId id="2147477092"/>
            <p14:sldId id="2147477093"/>
            <p14:sldId id="2147477094"/>
            <p14:sldId id="214747709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507994-2260-4228-8F7F-A5AC99A893E1}" v="11" dt="2024-11-01T08:56:2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notesMaster" Target="notesMasters/notesMaster1.xml"/><Relationship Id="rId155" Type="http://schemas.microsoft.com/office/2015/10/relationships/revisionInfo" Target="revisionInfo.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theme" Target="theme/theme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tableStyles" Target="tableStyles.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404322300372672"/>
          <c:y val="2.1747791014982559E-2"/>
          <c:w val="0.73951596763197525"/>
          <c:h val="0.86043888622930176"/>
        </c:manualLayout>
      </c:layout>
      <c:scatterChart>
        <c:scatterStyle val="lineMarker"/>
        <c:varyColors val="0"/>
        <c:ser>
          <c:idx val="2"/>
          <c:order val="0"/>
          <c:tx>
            <c:strRef>
              <c:f>Sheet1!$B$1</c:f>
              <c:strCache>
                <c:ptCount val="1"/>
                <c:pt idx="0">
                  <c:v>Hershey's Choco Tubes Cookies N' Creme 18g</c:v>
                </c:pt>
              </c:strCache>
            </c:strRef>
          </c:tx>
          <c:spPr>
            <a:ln w="19050" cap="rnd">
              <a:solidFill>
                <a:srgbClr val="00A097"/>
              </a:solidFill>
              <a:round/>
            </a:ln>
            <a:effectLst/>
          </c:spPr>
          <c:marker>
            <c:symbol val="circle"/>
            <c:size val="5"/>
            <c:spPr>
              <a:solidFill>
                <a:srgbClr val="00A097"/>
              </a:solidFill>
              <a:ln w="9525">
                <a:solidFill>
                  <a:srgbClr val="FFFFFF"/>
                </a:solidFill>
              </a:ln>
              <a:effectLst/>
            </c:spPr>
          </c:marker>
          <c:dLbls>
            <c:dLbl>
              <c:idx val="0"/>
              <c:tx>
                <c:rich>
                  <a:bodyPr anchorCtr="0"/>
                  <a:lstStyle/>
                  <a:p>
                    <a:pPr>
                      <a:defRPr sz="800"/>
                    </a:pPr>
                    <a:r>
                      <a:rPr lang="en-US"/>
                      <a:t>-4.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BB-4592-8776-98B59FCA8F1B}"/>
                </c:ext>
              </c:extLst>
            </c:dLbl>
            <c:dLbl>
              <c:idx val="1"/>
              <c:tx>
                <c:rich>
                  <a:bodyPr anchorCtr="0"/>
                  <a:lstStyle/>
                  <a:p>
                    <a:pPr>
                      <a:defRPr sz="800"/>
                    </a:pPr>
                    <a:r>
                      <a:rPr lang="en-US"/>
                      <a:t>-4.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BB-4592-8776-98B59FCA8F1B}"/>
                </c:ext>
              </c:extLst>
            </c:dLbl>
            <c:dLbl>
              <c:idx val="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ABB-4592-8776-98B59FCA8F1B}"/>
                </c:ext>
              </c:extLst>
            </c:dLbl>
            <c:dLbl>
              <c:idx val="3"/>
              <c:tx>
                <c:rich>
                  <a:bodyPr anchorCtr="0"/>
                  <a:lstStyle/>
                  <a:p>
                    <a:pPr>
                      <a:defRPr sz="800"/>
                    </a:pPr>
                    <a:r>
                      <a:rPr lang="en-US"/>
                      <a:t>-2.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BB-4592-8776-98B59FCA8F1B}"/>
                </c:ext>
              </c:extLst>
            </c:dLbl>
            <c:dLbl>
              <c:idx val="4"/>
              <c:tx>
                <c:rich>
                  <a:bodyPr anchorCtr="0"/>
                  <a:lstStyle/>
                  <a:p>
                    <a:pPr>
                      <a:defRPr sz="800"/>
                    </a:pPr>
                    <a:r>
                      <a:rPr lang="en-US"/>
                      <a:t>-1.8</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BB-4592-8776-98B59FCA8F1B}"/>
                </c:ext>
              </c:extLst>
            </c:dLbl>
            <c:dLbl>
              <c:idx val="8"/>
              <c:layout>
                <c:manualLayout>
                  <c:x val="-3.2723796184859981E-2"/>
                  <c:y val="-3.2574771022587226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ABB-4592-8776-98B59FCA8F1B}"/>
                </c:ext>
              </c:extLst>
            </c:dLbl>
            <c:dLbl>
              <c:idx val="9"/>
              <c:layout>
                <c:manualLayout>
                  <c:x val="-3.4748783572537037E-2"/>
                  <c:y val="-1.3868996030125345E-2"/>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ABB-4592-8776-98B59FCA8F1B}"/>
                </c:ext>
              </c:extLst>
            </c:dLbl>
            <c:dLbl>
              <c:idx val="1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E-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0-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2-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4-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6-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8-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A-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C-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E-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0-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2-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4-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6-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8-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A-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C-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E-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0-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2-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4-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6-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8-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A-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C-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E-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0-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2-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4-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6-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8-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A-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C-1ABB-4592-8776-98B59FCA8F1B}"/>
                </c:ext>
              </c:extLst>
            </c:dLbl>
            <c:numFmt formatCode="#,##0.0" sourceLinked="0"/>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16</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2:$B$16</c:f>
              <c:numCache>
                <c:formatCode>General</c:formatCode>
                <c:ptCount val="15"/>
                <c:pt idx="0">
                  <c:v>0.8196910275065098</c:v>
                </c:pt>
                <c:pt idx="1">
                  <c:v>0.44580418823019918</c:v>
                </c:pt>
                <c:pt idx="2">
                  <c:v>0</c:v>
                </c:pt>
                <c:pt idx="3">
                  <c:v>-0.1032268648683705</c:v>
                </c:pt>
                <c:pt idx="4">
                  <c:v>-0.26480951548373488</c:v>
                </c:pt>
              </c:numCache>
            </c:numRef>
          </c:yVal>
          <c:smooth val="0"/>
          <c:extLst>
            <c:ext xmlns:c16="http://schemas.microsoft.com/office/drawing/2014/chart" uri="{C3380CC4-5D6E-409C-BE32-E72D297353CC}">
              <c16:uniqueId val="{0000007D-1ABB-4592-8776-98B59FCA8F1B}"/>
            </c:ext>
          </c:extLst>
        </c:ser>
        <c:ser>
          <c:idx val="1"/>
          <c:order val="1"/>
          <c:tx>
            <c:strRef>
              <c:f>Sheet1!$B$18</c:f>
              <c:strCache>
                <c:ptCount val="1"/>
                <c:pt idx="0">
                  <c:v>Hershey's Cookies N' Chocolate 40g</c:v>
                </c:pt>
              </c:strCache>
            </c:strRef>
          </c:tx>
          <c:spPr>
            <a:ln w="19050" cap="rnd">
              <a:solidFill>
                <a:schemeClr val="accent2"/>
              </a:solidFill>
              <a:round/>
            </a:ln>
            <a:effectLst/>
          </c:spPr>
          <c:marker>
            <c:symbol val="circle"/>
            <c:size val="5"/>
            <c:spPr>
              <a:solidFill>
                <a:schemeClr val="accent2"/>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E-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0-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2-1ABB-4592-8776-98B59FCA8F1B}"/>
                </c:ext>
              </c:extLst>
            </c:dLbl>
            <c:dLbl>
              <c:idx val="5"/>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1ABB-4592-8776-98B59FCA8F1B}"/>
                </c:ext>
              </c:extLst>
            </c:dLbl>
            <c:dLbl>
              <c:idx val="6"/>
              <c:tx>
                <c:rich>
                  <a:bodyPr anchorCtr="0"/>
                  <a:lstStyle/>
                  <a:p>
                    <a:pPr>
                      <a:defRPr sz="800"/>
                    </a:pPr>
                    <a:r>
                      <a:rPr lang="en-US"/>
                      <a:t>-1.1</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4-1ABB-4592-8776-98B59FCA8F1B}"/>
                </c:ext>
              </c:extLst>
            </c:dLbl>
            <c:dLbl>
              <c:idx val="7"/>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1ABB-4592-8776-98B59FCA8F1B}"/>
                </c:ext>
              </c:extLst>
            </c:dLbl>
            <c:dLbl>
              <c:idx val="8"/>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6-1ABB-4592-8776-98B59FCA8F1B}"/>
                </c:ext>
              </c:extLst>
            </c:dLbl>
            <c:dLbl>
              <c:idx val="9"/>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1ABB-4592-8776-98B59FCA8F1B}"/>
                </c:ext>
              </c:extLst>
            </c:dLbl>
            <c:dLbl>
              <c:idx val="1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8-1ABB-4592-8776-98B59FCA8F1B}"/>
                </c:ext>
              </c:extLst>
            </c:dLbl>
            <c:dLbl>
              <c:idx val="1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1ABB-4592-8776-98B59FCA8F1B}"/>
                </c:ext>
              </c:extLst>
            </c:dLbl>
            <c:dLbl>
              <c:idx val="1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A-1ABB-4592-8776-98B59FCA8F1B}"/>
                </c:ext>
              </c:extLst>
            </c:dLbl>
            <c:dLbl>
              <c:idx val="1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1ABB-4592-8776-98B59FCA8F1B}"/>
                </c:ext>
              </c:extLst>
            </c:dLbl>
            <c:dLbl>
              <c:idx val="14"/>
              <c:layout>
                <c:manualLayout>
                  <c:x val="-7.1198556550722589E-2"/>
                  <c:y val="-5.8522353190703308E-3"/>
                </c:manualLayout>
              </c:layout>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C-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E-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0-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2-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4-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6-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8-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A-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C-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E-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0-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2-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4-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6-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8-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A-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C-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E-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0-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2-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4-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5-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6-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7-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8-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9-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A-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B-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C-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D-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E-1ABB-4592-8776-98B59FCA8F1B}"/>
                </c:ext>
              </c:extLst>
            </c:dLbl>
            <c:dLbl>
              <c:idx val="6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F-1ABB-4592-8776-98B59FCA8F1B}"/>
                </c:ext>
              </c:extLst>
            </c:dLbl>
            <c:dLbl>
              <c:idx val="6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0-1ABB-4592-8776-98B59FCA8F1B}"/>
                </c:ext>
              </c:extLst>
            </c:dLbl>
            <c:dLbl>
              <c:idx val="6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1-1ABB-4592-8776-98B59FCA8F1B}"/>
                </c:ext>
              </c:extLst>
            </c:dLbl>
            <c:dLbl>
              <c:idx val="6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2-1ABB-4592-8776-98B59FCA8F1B}"/>
                </c:ext>
              </c:extLst>
            </c:dLbl>
            <c:dLbl>
              <c:idx val="6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3-1ABB-4592-8776-98B59FCA8F1B}"/>
                </c:ext>
              </c:extLst>
            </c:dLbl>
            <c:dLbl>
              <c:idx val="7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4-1ABB-4592-8776-98B59FCA8F1B}"/>
                </c:ext>
              </c:extLst>
            </c:dLbl>
            <c:dLbl>
              <c:idx val="7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5-1ABB-4592-8776-98B59FCA8F1B}"/>
                </c:ext>
              </c:extLst>
            </c:dLbl>
            <c:dLbl>
              <c:idx val="7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6-1ABB-4592-8776-98B59FCA8F1B}"/>
                </c:ext>
              </c:extLst>
            </c:dLbl>
            <c:dLbl>
              <c:idx val="7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7-1ABB-4592-8776-98B59FCA8F1B}"/>
                </c:ext>
              </c:extLst>
            </c:dLbl>
            <c:dLbl>
              <c:idx val="7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8-1ABB-4592-8776-98B59FCA8F1B}"/>
                </c:ext>
              </c:extLst>
            </c:dLbl>
            <c:dLbl>
              <c:idx val="7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9-1ABB-4592-8776-98B59FCA8F1B}"/>
                </c:ext>
              </c:extLst>
            </c:dLbl>
            <c:dLbl>
              <c:idx val="7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A-1ABB-4592-8776-98B59FCA8F1B}"/>
                </c:ext>
              </c:extLst>
            </c:dLbl>
            <c:dLbl>
              <c:idx val="7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B-1ABB-4592-8776-98B59FCA8F1B}"/>
                </c:ext>
              </c:extLst>
            </c:dLbl>
            <c:dLbl>
              <c:idx val="7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C-1ABB-4592-8776-98B59FCA8F1B}"/>
                </c:ext>
              </c:extLst>
            </c:dLbl>
            <c:dLbl>
              <c:idx val="7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D-1ABB-4592-8776-98B59FCA8F1B}"/>
                </c:ext>
              </c:extLst>
            </c:dLbl>
            <c:dLbl>
              <c:idx val="8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E-1ABB-4592-8776-98B59FCA8F1B}"/>
                </c:ext>
              </c:extLst>
            </c:dLbl>
            <c:dLbl>
              <c:idx val="8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CF-1ABB-4592-8776-98B59FCA8F1B}"/>
                </c:ext>
              </c:extLst>
            </c:dLbl>
            <c:dLbl>
              <c:idx val="8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0-1ABB-4592-8776-98B59FCA8F1B}"/>
                </c:ext>
              </c:extLst>
            </c:dLbl>
            <c:dLbl>
              <c:idx val="8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1-1ABB-4592-8776-98B59FCA8F1B}"/>
                </c:ext>
              </c:extLst>
            </c:dLbl>
            <c:dLbl>
              <c:idx val="8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2-1ABB-4592-8776-98B59FCA8F1B}"/>
                </c:ext>
              </c:extLst>
            </c:dLbl>
            <c:dLbl>
              <c:idx val="8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3-1ABB-4592-8776-98B59FCA8F1B}"/>
                </c:ext>
              </c:extLst>
            </c:dLbl>
            <c:dLbl>
              <c:idx val="8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4-1ABB-4592-8776-98B59FCA8F1B}"/>
                </c:ext>
              </c:extLst>
            </c:dLbl>
            <c:dLbl>
              <c:idx val="8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5-1ABB-4592-8776-98B59FCA8F1B}"/>
                </c:ext>
              </c:extLst>
            </c:dLbl>
            <c:dLbl>
              <c:idx val="8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6-1ABB-4592-8776-98B59FCA8F1B}"/>
                </c:ext>
              </c:extLst>
            </c:dLbl>
            <c:dLbl>
              <c:idx val="8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7-1ABB-4592-8776-98B59FCA8F1B}"/>
                </c:ext>
              </c:extLst>
            </c:dLbl>
            <c:dLbl>
              <c:idx val="9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8-1ABB-4592-8776-98B59FCA8F1B}"/>
                </c:ext>
              </c:extLst>
            </c:dLbl>
            <c:dLbl>
              <c:idx val="9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9-1ABB-4592-8776-98B59FCA8F1B}"/>
                </c:ext>
              </c:extLst>
            </c:dLbl>
            <c:dLbl>
              <c:idx val="9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A-1ABB-4592-8776-98B59FCA8F1B}"/>
                </c:ext>
              </c:extLst>
            </c:dLbl>
            <c:dLbl>
              <c:idx val="9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B-1ABB-4592-8776-98B59FCA8F1B}"/>
                </c:ext>
              </c:extLst>
            </c:dLbl>
            <c:dLbl>
              <c:idx val="9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C-1ABB-4592-8776-98B59FCA8F1B}"/>
                </c:ext>
              </c:extLst>
            </c:dLbl>
            <c:dLbl>
              <c:idx val="9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D-1ABB-4592-8776-98B59FCA8F1B}"/>
                </c:ext>
              </c:extLst>
            </c:dLbl>
            <c:dLbl>
              <c:idx val="9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E-1ABB-4592-8776-98B59FCA8F1B}"/>
                </c:ext>
              </c:extLst>
            </c:dLbl>
            <c:dLbl>
              <c:idx val="9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DF-1ABB-4592-8776-98B59FCA8F1B}"/>
                </c:ext>
              </c:extLst>
            </c:dLbl>
            <c:dLbl>
              <c:idx val="9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0-1ABB-4592-8776-98B59FCA8F1B}"/>
                </c:ext>
              </c:extLst>
            </c:dLbl>
            <c:dLbl>
              <c:idx val="9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1-1ABB-4592-8776-98B59FCA8F1B}"/>
                </c:ext>
              </c:extLst>
            </c:dLbl>
            <c:dLbl>
              <c:idx val="10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2-1ABB-4592-8776-98B59FCA8F1B}"/>
                </c:ext>
              </c:extLst>
            </c:dLbl>
            <c:dLbl>
              <c:idx val="10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3-1ABB-4592-8776-98B59FCA8F1B}"/>
                </c:ext>
              </c:extLst>
            </c:dLbl>
            <c:dLbl>
              <c:idx val="10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4-1ABB-4592-8776-98B59FCA8F1B}"/>
                </c:ext>
              </c:extLst>
            </c:dLbl>
            <c:dLbl>
              <c:idx val="10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5-1ABB-4592-8776-98B59FCA8F1B}"/>
                </c:ext>
              </c:extLst>
            </c:dLbl>
            <c:dLbl>
              <c:idx val="10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6-1ABB-4592-8776-98B59FCA8F1B}"/>
                </c:ext>
              </c:extLst>
            </c:dLbl>
            <c:dLbl>
              <c:idx val="10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7-1ABB-4592-8776-98B59FCA8F1B}"/>
                </c:ext>
              </c:extLst>
            </c:dLbl>
            <c:dLbl>
              <c:idx val="10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8-1ABB-4592-8776-98B59FCA8F1B}"/>
                </c:ext>
              </c:extLst>
            </c:dLbl>
            <c:dLbl>
              <c:idx val="10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9-1ABB-4592-8776-98B59FCA8F1B}"/>
                </c:ext>
              </c:extLst>
            </c:dLbl>
            <c:dLbl>
              <c:idx val="10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A-1ABB-4592-8776-98B59FCA8F1B}"/>
                </c:ext>
              </c:extLst>
            </c:dLbl>
            <c:dLbl>
              <c:idx val="10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B-1ABB-4592-8776-98B59FCA8F1B}"/>
                </c:ext>
              </c:extLst>
            </c:dLbl>
            <c:dLbl>
              <c:idx val="11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C-1ABB-4592-8776-98B59FCA8F1B}"/>
                </c:ext>
              </c:extLst>
            </c:dLbl>
            <c:dLbl>
              <c:idx val="11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D-1ABB-4592-8776-98B59FCA8F1B}"/>
                </c:ext>
              </c:extLst>
            </c:dLbl>
            <c:dLbl>
              <c:idx val="11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E-1ABB-4592-8776-98B59FCA8F1B}"/>
                </c:ext>
              </c:extLst>
            </c:dLbl>
            <c:dLbl>
              <c:idx val="11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EF-1ABB-4592-8776-98B59FCA8F1B}"/>
                </c:ext>
              </c:extLst>
            </c:dLbl>
            <c:dLbl>
              <c:idx val="11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0-1ABB-4592-8776-98B59FCA8F1B}"/>
                </c:ext>
              </c:extLst>
            </c:dLbl>
            <c:dLbl>
              <c:idx val="115"/>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1-1ABB-4592-8776-98B59FCA8F1B}"/>
                </c:ext>
              </c:extLst>
            </c:dLbl>
            <c:dLbl>
              <c:idx val="116"/>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2-1ABB-4592-8776-98B59FCA8F1B}"/>
                </c:ext>
              </c:extLst>
            </c:dLbl>
            <c:dLbl>
              <c:idx val="117"/>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3-1ABB-4592-8776-98B59FCA8F1B}"/>
                </c:ext>
              </c:extLst>
            </c:dLbl>
            <c:dLbl>
              <c:idx val="118"/>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4-1ABB-4592-8776-98B59FCA8F1B}"/>
                </c:ext>
              </c:extLst>
            </c:dLbl>
            <c:dLbl>
              <c:idx val="119"/>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5-1ABB-4592-8776-98B59FCA8F1B}"/>
                </c:ext>
              </c:extLst>
            </c:dLbl>
            <c:dLbl>
              <c:idx val="120"/>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6-1ABB-4592-8776-98B59FCA8F1B}"/>
                </c:ext>
              </c:extLst>
            </c:dLbl>
            <c:dLbl>
              <c:idx val="121"/>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7-1ABB-4592-8776-98B59FCA8F1B}"/>
                </c:ext>
              </c:extLst>
            </c:dLbl>
            <c:dLbl>
              <c:idx val="122"/>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8-1ABB-4592-8776-98B59FCA8F1B}"/>
                </c:ext>
              </c:extLst>
            </c:dLbl>
            <c:dLbl>
              <c:idx val="123"/>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9-1ABB-4592-8776-98B59FCA8F1B}"/>
                </c:ext>
              </c:extLst>
            </c:dLbl>
            <c:dLbl>
              <c:idx val="124"/>
              <c:tx>
                <c:rich>
                  <a:bodyPr/>
                  <a:lstStyle/>
                  <a:p>
                    <a:endParaRP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A-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19:$A$33</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19:$B$33</c:f>
              <c:numCache>
                <c:formatCode>General</c:formatCode>
                <c:ptCount val="15"/>
                <c:pt idx="5">
                  <c:v>0.14463426762796769</c:v>
                </c:pt>
                <c:pt idx="6">
                  <c:v>0.10949084550621579</c:v>
                </c:pt>
                <c:pt idx="7">
                  <c:v>0</c:v>
                </c:pt>
                <c:pt idx="8">
                  <c:v>-0.14614443310150421</c:v>
                </c:pt>
                <c:pt idx="9">
                  <c:v>-0.2081207878513657</c:v>
                </c:pt>
              </c:numCache>
            </c:numRef>
          </c:yVal>
          <c:smooth val="0"/>
          <c:extLst>
            <c:ext xmlns:c16="http://schemas.microsoft.com/office/drawing/2014/chart" uri="{C3380CC4-5D6E-409C-BE32-E72D297353CC}">
              <c16:uniqueId val="{000000FB-1ABB-4592-8776-98B59FCA8F1B}"/>
            </c:ext>
          </c:extLst>
        </c:ser>
        <c:ser>
          <c:idx val="7"/>
          <c:order val="2"/>
          <c:tx>
            <c:strRef>
              <c:f>Sheet1!$B$35</c:f>
              <c:strCache>
                <c:ptCount val="1"/>
                <c:pt idx="0">
                  <c:v>Hershey's Cookies N' Crème 12.76g</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rgbClr val="FFFFFF"/>
                </a:solidFill>
              </a:ln>
              <a:effectLst/>
            </c:spPr>
          </c:marker>
          <c:dLbls>
            <c:dLbl>
              <c:idx val="0"/>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C-1ABB-4592-8776-98B59FCA8F1B}"/>
                </c:ext>
              </c:extLst>
            </c:dLbl>
            <c:dLbl>
              <c:idx val="1"/>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D-1ABB-4592-8776-98B59FCA8F1B}"/>
                </c:ext>
              </c:extLst>
            </c:dLbl>
            <c:dLbl>
              <c:idx val="2"/>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E-1ABB-4592-8776-98B59FCA8F1B}"/>
                </c:ext>
              </c:extLst>
            </c:dLbl>
            <c:dLbl>
              <c:idx val="3"/>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FF-1ABB-4592-8776-98B59FCA8F1B}"/>
                </c:ext>
              </c:extLst>
            </c:dLbl>
            <c:dLbl>
              <c:idx val="4"/>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0-1ABB-4592-8776-98B59FCA8F1B}"/>
                </c:ext>
              </c:extLst>
            </c:dLbl>
            <c:dLbl>
              <c:idx val="5"/>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1-1ABB-4592-8776-98B59FCA8F1B}"/>
                </c:ext>
              </c:extLst>
            </c:dLbl>
            <c:dLbl>
              <c:idx val="6"/>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2-1ABB-4592-8776-98B59FCA8F1B}"/>
                </c:ext>
              </c:extLst>
            </c:dLbl>
            <c:dLbl>
              <c:idx val="7"/>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3-1ABB-4592-8776-98B59FCA8F1B}"/>
                </c:ext>
              </c:extLst>
            </c:dLbl>
            <c:dLbl>
              <c:idx val="8"/>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4-1ABB-4592-8776-98B59FCA8F1B}"/>
                </c:ext>
              </c:extLst>
            </c:dLbl>
            <c:dLbl>
              <c:idx val="9"/>
              <c:tx>
                <c:rich>
                  <a:bodyPr anchorCtr="0"/>
                  <a:lstStyle/>
                  <a:p>
                    <a:pPr>
                      <a:defRPr sz="800"/>
                    </a:pPr>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5-1ABB-4592-8776-98B59FCA8F1B}"/>
                </c:ext>
              </c:extLst>
            </c:dLbl>
            <c:dLbl>
              <c:idx val="10"/>
              <c:tx>
                <c:rich>
                  <a:bodyPr anchorCtr="0"/>
                  <a:lstStyle/>
                  <a:p>
                    <a:pPr>
                      <a:defRPr sz="800"/>
                    </a:pPr>
                    <a:r>
                      <a:rPr lang="en-US"/>
                      <a:t>-1.5</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6-1ABB-4592-8776-98B59FCA8F1B}"/>
                </c:ext>
              </c:extLst>
            </c:dLbl>
            <c:dLbl>
              <c:idx val="11"/>
              <c:tx>
                <c:rich>
                  <a:bodyPr anchorCtr="0"/>
                  <a:lstStyle/>
                  <a:p>
                    <a:pPr>
                      <a:defRPr sz="800"/>
                    </a:pPr>
                    <a:r>
                      <a:rPr lang="en-US"/>
                      <a:t>-1.9</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7-1ABB-4592-8776-98B59FCA8F1B}"/>
                </c:ext>
              </c:extLst>
            </c:dLbl>
            <c:dLbl>
              <c:idx val="12"/>
              <c:tx>
                <c:rich>
                  <a:bodyPr anchorCtr="0"/>
                  <a:lstStyle/>
                  <a:p>
                    <a:pPr>
                      <a:defRPr sz="800"/>
                    </a:pPr>
                    <a:r>
                      <a:rPr lang="en-US"/>
                      <a:t>0.0</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8-1ABB-4592-8776-98B59FCA8F1B}"/>
                </c:ext>
              </c:extLst>
            </c:dLbl>
            <c:dLbl>
              <c:idx val="13"/>
              <c:tx>
                <c:rich>
                  <a:bodyPr anchorCtr="0"/>
                  <a:lstStyle/>
                  <a:p>
                    <a:pPr>
                      <a:defRPr sz="800"/>
                    </a:pPr>
                    <a:r>
                      <a:rPr lang="en-US"/>
                      <a:t>-1.2</a:t>
                    </a:r>
                  </a:p>
                </c:rich>
              </c:tx>
              <c:spPr/>
              <c:dLblPos val="t"/>
              <c:showLegendKey val="0"/>
              <c:showVal val="0"/>
              <c:showCatName val="0"/>
              <c:showSerName val="0"/>
              <c:showPercent val="0"/>
              <c:showBubbleSize val="0"/>
              <c:extLst>
                <c:ext xmlns:c15="http://schemas.microsoft.com/office/drawing/2012/chart" uri="{CE6537A1-D6FC-4f65-9D91-7224C49458BB}">
                  <c15:layout>
                    <c:manualLayout>
                      <c:w val="7.4976823334163209E-2"/>
                      <c:h val="4.982431175240732E-2"/>
                    </c:manualLayout>
                  </c15:layout>
                  <c15:showDataLabelsRange val="0"/>
                </c:ext>
                <c:ext xmlns:c16="http://schemas.microsoft.com/office/drawing/2014/chart" uri="{C3380CC4-5D6E-409C-BE32-E72D297353CC}">
                  <c16:uniqueId val="{00000109-1ABB-4592-8776-98B59FCA8F1B}"/>
                </c:ext>
              </c:extLst>
            </c:dLbl>
            <c:dLbl>
              <c:idx val="14"/>
              <c:tx>
                <c:rich>
                  <a:bodyPr anchorCtr="0"/>
                  <a:lstStyle/>
                  <a:p>
                    <a:pPr>
                      <a:defRPr sz="800"/>
                    </a:pPr>
                    <a:r>
                      <a:rPr lang="en-US"/>
                      <a:t>-1.3</a:t>
                    </a: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A-1ABB-4592-8776-98B59FCA8F1B}"/>
                </c:ext>
              </c:extLst>
            </c:dLbl>
            <c:dLbl>
              <c:idx val="1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B-1ABB-4592-8776-98B59FCA8F1B}"/>
                </c:ext>
              </c:extLst>
            </c:dLbl>
            <c:dLbl>
              <c:idx val="1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C-1ABB-4592-8776-98B59FCA8F1B}"/>
                </c:ext>
              </c:extLst>
            </c:dLbl>
            <c:dLbl>
              <c:idx val="1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D-1ABB-4592-8776-98B59FCA8F1B}"/>
                </c:ext>
              </c:extLst>
            </c:dLbl>
            <c:dLbl>
              <c:idx val="1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E-1ABB-4592-8776-98B59FCA8F1B}"/>
                </c:ext>
              </c:extLst>
            </c:dLbl>
            <c:dLbl>
              <c:idx val="1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0F-1ABB-4592-8776-98B59FCA8F1B}"/>
                </c:ext>
              </c:extLst>
            </c:dLbl>
            <c:dLbl>
              <c:idx val="2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0-1ABB-4592-8776-98B59FCA8F1B}"/>
                </c:ext>
              </c:extLst>
            </c:dLbl>
            <c:dLbl>
              <c:idx val="2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1-1ABB-4592-8776-98B59FCA8F1B}"/>
                </c:ext>
              </c:extLst>
            </c:dLbl>
            <c:dLbl>
              <c:idx val="2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2-1ABB-4592-8776-98B59FCA8F1B}"/>
                </c:ext>
              </c:extLst>
            </c:dLbl>
            <c:dLbl>
              <c:idx val="2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3-1ABB-4592-8776-98B59FCA8F1B}"/>
                </c:ext>
              </c:extLst>
            </c:dLbl>
            <c:dLbl>
              <c:idx val="2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4-1ABB-4592-8776-98B59FCA8F1B}"/>
                </c:ext>
              </c:extLst>
            </c:dLbl>
            <c:dLbl>
              <c:idx val="2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5-1ABB-4592-8776-98B59FCA8F1B}"/>
                </c:ext>
              </c:extLst>
            </c:dLbl>
            <c:dLbl>
              <c:idx val="2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6-1ABB-4592-8776-98B59FCA8F1B}"/>
                </c:ext>
              </c:extLst>
            </c:dLbl>
            <c:dLbl>
              <c:idx val="2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7-1ABB-4592-8776-98B59FCA8F1B}"/>
                </c:ext>
              </c:extLst>
            </c:dLbl>
            <c:dLbl>
              <c:idx val="2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8-1ABB-4592-8776-98B59FCA8F1B}"/>
                </c:ext>
              </c:extLst>
            </c:dLbl>
            <c:dLbl>
              <c:idx val="2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9-1ABB-4592-8776-98B59FCA8F1B}"/>
                </c:ext>
              </c:extLst>
            </c:dLbl>
            <c:dLbl>
              <c:idx val="3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A-1ABB-4592-8776-98B59FCA8F1B}"/>
                </c:ext>
              </c:extLst>
            </c:dLbl>
            <c:dLbl>
              <c:idx val="3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B-1ABB-4592-8776-98B59FCA8F1B}"/>
                </c:ext>
              </c:extLst>
            </c:dLbl>
            <c:dLbl>
              <c:idx val="3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C-1ABB-4592-8776-98B59FCA8F1B}"/>
                </c:ext>
              </c:extLst>
            </c:dLbl>
            <c:dLbl>
              <c:idx val="3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D-1ABB-4592-8776-98B59FCA8F1B}"/>
                </c:ext>
              </c:extLst>
            </c:dLbl>
            <c:dLbl>
              <c:idx val="3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E-1ABB-4592-8776-98B59FCA8F1B}"/>
                </c:ext>
              </c:extLst>
            </c:dLbl>
            <c:dLbl>
              <c:idx val="3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1F-1ABB-4592-8776-98B59FCA8F1B}"/>
                </c:ext>
              </c:extLst>
            </c:dLbl>
            <c:dLbl>
              <c:idx val="3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0-1ABB-4592-8776-98B59FCA8F1B}"/>
                </c:ext>
              </c:extLst>
            </c:dLbl>
            <c:dLbl>
              <c:idx val="3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1-1ABB-4592-8776-98B59FCA8F1B}"/>
                </c:ext>
              </c:extLst>
            </c:dLbl>
            <c:dLbl>
              <c:idx val="3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2-1ABB-4592-8776-98B59FCA8F1B}"/>
                </c:ext>
              </c:extLst>
            </c:dLbl>
            <c:dLbl>
              <c:idx val="3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layout>
                    <c:manualLayout>
                      <c:w val="7.557252930810486E-2"/>
                      <c:h val="6.3118629331707254E-2"/>
                    </c:manualLayout>
                  </c15:layout>
                  <c15:showDataLabelsRange val="0"/>
                </c:ext>
                <c:ext xmlns:c16="http://schemas.microsoft.com/office/drawing/2014/chart" uri="{C3380CC4-5D6E-409C-BE32-E72D297353CC}">
                  <c16:uniqueId val="{00000123-1ABB-4592-8776-98B59FCA8F1B}"/>
                </c:ext>
              </c:extLst>
            </c:dLbl>
            <c:dLbl>
              <c:idx val="4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4-1ABB-4592-8776-98B59FCA8F1B}"/>
                </c:ext>
              </c:extLst>
            </c:dLbl>
            <c:dLbl>
              <c:idx val="4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5-1ABB-4592-8776-98B59FCA8F1B}"/>
                </c:ext>
              </c:extLst>
            </c:dLbl>
            <c:dLbl>
              <c:idx val="4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6-1ABB-4592-8776-98B59FCA8F1B}"/>
                </c:ext>
              </c:extLst>
            </c:dLbl>
            <c:dLbl>
              <c:idx val="4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7-1ABB-4592-8776-98B59FCA8F1B}"/>
                </c:ext>
              </c:extLst>
            </c:dLbl>
            <c:dLbl>
              <c:idx val="4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8-1ABB-4592-8776-98B59FCA8F1B}"/>
                </c:ext>
              </c:extLst>
            </c:dLbl>
            <c:dLbl>
              <c:idx val="4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9-1ABB-4592-8776-98B59FCA8F1B}"/>
                </c:ext>
              </c:extLst>
            </c:dLbl>
            <c:dLbl>
              <c:idx val="4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A-1ABB-4592-8776-98B59FCA8F1B}"/>
                </c:ext>
              </c:extLst>
            </c:dLbl>
            <c:dLbl>
              <c:idx val="4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B-1ABB-4592-8776-98B59FCA8F1B}"/>
                </c:ext>
              </c:extLst>
            </c:dLbl>
            <c:dLbl>
              <c:idx val="4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C-1ABB-4592-8776-98B59FCA8F1B}"/>
                </c:ext>
              </c:extLst>
            </c:dLbl>
            <c:dLbl>
              <c:idx val="4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D-1ABB-4592-8776-98B59FCA8F1B}"/>
                </c:ext>
              </c:extLst>
            </c:dLbl>
            <c:dLbl>
              <c:idx val="5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E-1ABB-4592-8776-98B59FCA8F1B}"/>
                </c:ext>
              </c:extLst>
            </c:dLbl>
            <c:dLbl>
              <c:idx val="5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2F-1ABB-4592-8776-98B59FCA8F1B}"/>
                </c:ext>
              </c:extLst>
            </c:dLbl>
            <c:dLbl>
              <c:idx val="5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0-1ABB-4592-8776-98B59FCA8F1B}"/>
                </c:ext>
              </c:extLst>
            </c:dLbl>
            <c:dLbl>
              <c:idx val="5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1-1ABB-4592-8776-98B59FCA8F1B}"/>
                </c:ext>
              </c:extLst>
            </c:dLbl>
            <c:dLbl>
              <c:idx val="5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2-1ABB-4592-8776-98B59FCA8F1B}"/>
                </c:ext>
              </c:extLst>
            </c:dLbl>
            <c:dLbl>
              <c:idx val="55"/>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3-1ABB-4592-8776-98B59FCA8F1B}"/>
                </c:ext>
              </c:extLst>
            </c:dLbl>
            <c:dLbl>
              <c:idx val="56"/>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4-1ABB-4592-8776-98B59FCA8F1B}"/>
                </c:ext>
              </c:extLst>
            </c:dLbl>
            <c:dLbl>
              <c:idx val="57"/>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5-1ABB-4592-8776-98B59FCA8F1B}"/>
                </c:ext>
              </c:extLst>
            </c:dLbl>
            <c:dLbl>
              <c:idx val="58"/>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6-1ABB-4592-8776-98B59FCA8F1B}"/>
                </c:ext>
              </c:extLst>
            </c:dLbl>
            <c:dLbl>
              <c:idx val="59"/>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7-1ABB-4592-8776-98B59FCA8F1B}"/>
                </c:ext>
              </c:extLst>
            </c:dLbl>
            <c:dLbl>
              <c:idx val="60"/>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8-1ABB-4592-8776-98B59FCA8F1B}"/>
                </c:ext>
              </c:extLst>
            </c:dLbl>
            <c:dLbl>
              <c:idx val="61"/>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9-1ABB-4592-8776-98B59FCA8F1B}"/>
                </c:ext>
              </c:extLst>
            </c:dLbl>
            <c:dLbl>
              <c:idx val="62"/>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A-1ABB-4592-8776-98B59FCA8F1B}"/>
                </c:ext>
              </c:extLst>
            </c:dLbl>
            <c:dLbl>
              <c:idx val="63"/>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B-1ABB-4592-8776-98B59FCA8F1B}"/>
                </c:ext>
              </c:extLst>
            </c:dLbl>
            <c:dLbl>
              <c:idx val="64"/>
              <c:tx>
                <c:rich>
                  <a:bodyPr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endParaRPr>
                  </a:p>
                </c:rich>
              </c:tx>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C-1ABB-4592-8776-98B59FCA8F1B}"/>
                </c:ext>
              </c:extLst>
            </c:dLbl>
            <c:dLbl>
              <c:idx val="6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D-1ABB-4592-8776-98B59FCA8F1B}"/>
                </c:ext>
              </c:extLst>
            </c:dLbl>
            <c:dLbl>
              <c:idx val="6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E-1ABB-4592-8776-98B59FCA8F1B}"/>
                </c:ext>
              </c:extLst>
            </c:dLbl>
            <c:dLbl>
              <c:idx val="6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3F-1ABB-4592-8776-98B59FCA8F1B}"/>
                </c:ext>
              </c:extLst>
            </c:dLbl>
            <c:dLbl>
              <c:idx val="6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0-1ABB-4592-8776-98B59FCA8F1B}"/>
                </c:ext>
              </c:extLst>
            </c:dLbl>
            <c:dLbl>
              <c:idx val="6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1-1ABB-4592-8776-98B59FCA8F1B}"/>
                </c:ext>
              </c:extLst>
            </c:dLbl>
            <c:dLbl>
              <c:idx val="7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2-1ABB-4592-8776-98B59FCA8F1B}"/>
                </c:ext>
              </c:extLst>
            </c:dLbl>
            <c:dLbl>
              <c:idx val="7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3-1ABB-4592-8776-98B59FCA8F1B}"/>
                </c:ext>
              </c:extLst>
            </c:dLbl>
            <c:dLbl>
              <c:idx val="7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4-1ABB-4592-8776-98B59FCA8F1B}"/>
                </c:ext>
              </c:extLst>
            </c:dLbl>
            <c:dLbl>
              <c:idx val="7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5-1ABB-4592-8776-98B59FCA8F1B}"/>
                </c:ext>
              </c:extLst>
            </c:dLbl>
            <c:dLbl>
              <c:idx val="7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6-1ABB-4592-8776-98B59FCA8F1B}"/>
                </c:ext>
              </c:extLst>
            </c:dLbl>
            <c:dLbl>
              <c:idx val="7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7-1ABB-4592-8776-98B59FCA8F1B}"/>
                </c:ext>
              </c:extLst>
            </c:dLbl>
            <c:dLbl>
              <c:idx val="7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8-1ABB-4592-8776-98B59FCA8F1B}"/>
                </c:ext>
              </c:extLst>
            </c:dLbl>
            <c:dLbl>
              <c:idx val="7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9-1ABB-4592-8776-98B59FCA8F1B}"/>
                </c:ext>
              </c:extLst>
            </c:dLbl>
            <c:dLbl>
              <c:idx val="7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A-1ABB-4592-8776-98B59FCA8F1B}"/>
                </c:ext>
              </c:extLst>
            </c:dLbl>
            <c:dLbl>
              <c:idx val="7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B-1ABB-4592-8776-98B59FCA8F1B}"/>
                </c:ext>
              </c:extLst>
            </c:dLbl>
            <c:dLbl>
              <c:idx val="8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C-1ABB-4592-8776-98B59FCA8F1B}"/>
                </c:ext>
              </c:extLst>
            </c:dLbl>
            <c:dLbl>
              <c:idx val="8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D-1ABB-4592-8776-98B59FCA8F1B}"/>
                </c:ext>
              </c:extLst>
            </c:dLbl>
            <c:dLbl>
              <c:idx val="8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E-1ABB-4592-8776-98B59FCA8F1B}"/>
                </c:ext>
              </c:extLst>
            </c:dLbl>
            <c:dLbl>
              <c:idx val="8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4F-1ABB-4592-8776-98B59FCA8F1B}"/>
                </c:ext>
              </c:extLst>
            </c:dLbl>
            <c:dLbl>
              <c:idx val="8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0-1ABB-4592-8776-98B59FCA8F1B}"/>
                </c:ext>
              </c:extLst>
            </c:dLbl>
            <c:dLbl>
              <c:idx val="8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1-1ABB-4592-8776-98B59FCA8F1B}"/>
                </c:ext>
              </c:extLst>
            </c:dLbl>
            <c:dLbl>
              <c:idx val="8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2-1ABB-4592-8776-98B59FCA8F1B}"/>
                </c:ext>
              </c:extLst>
            </c:dLbl>
            <c:dLbl>
              <c:idx val="8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3-1ABB-4592-8776-98B59FCA8F1B}"/>
                </c:ext>
              </c:extLst>
            </c:dLbl>
            <c:dLbl>
              <c:idx val="8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4-1ABB-4592-8776-98B59FCA8F1B}"/>
                </c:ext>
              </c:extLst>
            </c:dLbl>
            <c:dLbl>
              <c:idx val="8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5-1ABB-4592-8776-98B59FCA8F1B}"/>
                </c:ext>
              </c:extLst>
            </c:dLbl>
            <c:dLbl>
              <c:idx val="9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6-1ABB-4592-8776-98B59FCA8F1B}"/>
                </c:ext>
              </c:extLst>
            </c:dLbl>
            <c:dLbl>
              <c:idx val="9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7-1ABB-4592-8776-98B59FCA8F1B}"/>
                </c:ext>
              </c:extLst>
            </c:dLbl>
            <c:dLbl>
              <c:idx val="9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8-1ABB-4592-8776-98B59FCA8F1B}"/>
                </c:ext>
              </c:extLst>
            </c:dLbl>
            <c:dLbl>
              <c:idx val="9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9-1ABB-4592-8776-98B59FCA8F1B}"/>
                </c:ext>
              </c:extLst>
            </c:dLbl>
            <c:dLbl>
              <c:idx val="9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A-1ABB-4592-8776-98B59FCA8F1B}"/>
                </c:ext>
              </c:extLst>
            </c:dLbl>
            <c:dLbl>
              <c:idx val="9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B-1ABB-4592-8776-98B59FCA8F1B}"/>
                </c:ext>
              </c:extLst>
            </c:dLbl>
            <c:dLbl>
              <c:idx val="9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C-1ABB-4592-8776-98B59FCA8F1B}"/>
                </c:ext>
              </c:extLst>
            </c:dLbl>
            <c:dLbl>
              <c:idx val="9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D-1ABB-4592-8776-98B59FCA8F1B}"/>
                </c:ext>
              </c:extLst>
            </c:dLbl>
            <c:dLbl>
              <c:idx val="9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E-1ABB-4592-8776-98B59FCA8F1B}"/>
                </c:ext>
              </c:extLst>
            </c:dLbl>
            <c:dLbl>
              <c:idx val="9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5F-1ABB-4592-8776-98B59FCA8F1B}"/>
                </c:ext>
              </c:extLst>
            </c:dLbl>
            <c:dLbl>
              <c:idx val="10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0-1ABB-4592-8776-98B59FCA8F1B}"/>
                </c:ext>
              </c:extLst>
            </c:dLbl>
            <c:dLbl>
              <c:idx val="10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1-1ABB-4592-8776-98B59FCA8F1B}"/>
                </c:ext>
              </c:extLst>
            </c:dLbl>
            <c:dLbl>
              <c:idx val="10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2-1ABB-4592-8776-98B59FCA8F1B}"/>
                </c:ext>
              </c:extLst>
            </c:dLbl>
            <c:dLbl>
              <c:idx val="10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3-1ABB-4592-8776-98B59FCA8F1B}"/>
                </c:ext>
              </c:extLst>
            </c:dLbl>
            <c:dLbl>
              <c:idx val="10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4-1ABB-4592-8776-98B59FCA8F1B}"/>
                </c:ext>
              </c:extLst>
            </c:dLbl>
            <c:dLbl>
              <c:idx val="10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5-1ABB-4592-8776-98B59FCA8F1B}"/>
                </c:ext>
              </c:extLst>
            </c:dLbl>
            <c:dLbl>
              <c:idx val="10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6-1ABB-4592-8776-98B59FCA8F1B}"/>
                </c:ext>
              </c:extLst>
            </c:dLbl>
            <c:dLbl>
              <c:idx val="10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7-1ABB-4592-8776-98B59FCA8F1B}"/>
                </c:ext>
              </c:extLst>
            </c:dLbl>
            <c:dLbl>
              <c:idx val="10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8-1ABB-4592-8776-98B59FCA8F1B}"/>
                </c:ext>
              </c:extLst>
            </c:dLbl>
            <c:dLbl>
              <c:idx val="10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9-1ABB-4592-8776-98B59FCA8F1B}"/>
                </c:ext>
              </c:extLst>
            </c:dLbl>
            <c:dLbl>
              <c:idx val="11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A-1ABB-4592-8776-98B59FCA8F1B}"/>
                </c:ext>
              </c:extLst>
            </c:dLbl>
            <c:dLbl>
              <c:idx val="11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B-1ABB-4592-8776-98B59FCA8F1B}"/>
                </c:ext>
              </c:extLst>
            </c:dLbl>
            <c:dLbl>
              <c:idx val="11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C-1ABB-4592-8776-98B59FCA8F1B}"/>
                </c:ext>
              </c:extLst>
            </c:dLbl>
            <c:dLbl>
              <c:idx val="11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D-1ABB-4592-8776-98B59FCA8F1B}"/>
                </c:ext>
              </c:extLst>
            </c:dLbl>
            <c:dLbl>
              <c:idx val="11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E-1ABB-4592-8776-98B59FCA8F1B}"/>
                </c:ext>
              </c:extLst>
            </c:dLbl>
            <c:dLbl>
              <c:idx val="115"/>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6F-1ABB-4592-8776-98B59FCA8F1B}"/>
                </c:ext>
              </c:extLst>
            </c:dLbl>
            <c:dLbl>
              <c:idx val="116"/>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0-1ABB-4592-8776-98B59FCA8F1B}"/>
                </c:ext>
              </c:extLst>
            </c:dLbl>
            <c:dLbl>
              <c:idx val="117"/>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1-1ABB-4592-8776-98B59FCA8F1B}"/>
                </c:ext>
              </c:extLst>
            </c:dLbl>
            <c:dLbl>
              <c:idx val="118"/>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2-1ABB-4592-8776-98B59FCA8F1B}"/>
                </c:ext>
              </c:extLst>
            </c:dLbl>
            <c:dLbl>
              <c:idx val="119"/>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3-1ABB-4592-8776-98B59FCA8F1B}"/>
                </c:ext>
              </c:extLst>
            </c:dLbl>
            <c:dLbl>
              <c:idx val="120"/>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4-1ABB-4592-8776-98B59FCA8F1B}"/>
                </c:ext>
              </c:extLst>
            </c:dLbl>
            <c:dLbl>
              <c:idx val="121"/>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5-1ABB-4592-8776-98B59FCA8F1B}"/>
                </c:ext>
              </c:extLst>
            </c:dLbl>
            <c:dLbl>
              <c:idx val="122"/>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6-1ABB-4592-8776-98B59FCA8F1B}"/>
                </c:ext>
              </c:extLst>
            </c:dLbl>
            <c:dLbl>
              <c:idx val="123"/>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7-1ABB-4592-8776-98B59FCA8F1B}"/>
                </c:ext>
              </c:extLst>
            </c:dLbl>
            <c:dLbl>
              <c:idx val="124"/>
              <c:tx>
                <c:rich>
                  <a:bodyPr/>
                  <a:lstStyle/>
                  <a:p>
                    <a:endParaRP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178-1ABB-4592-8776-98B59FCA8F1B}"/>
                </c:ext>
              </c:extLst>
            </c:dLbl>
            <c:spPr>
              <a:noFill/>
              <a:ln>
                <a:noFill/>
              </a:ln>
              <a:effectLst/>
            </c:spPr>
            <c:txPr>
              <a:bodyPr rot="0" vert="horz" anchorCtr="0"/>
              <a:lstStyle/>
              <a:p>
                <a:pPr algn="ct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575555"/>
                      </a:solidFill>
                      <a:round/>
                    </a:ln>
                    <a:effectLst/>
                  </c:spPr>
                </c15:leaderLines>
              </c:ext>
            </c:extLst>
          </c:dLbls>
          <c:xVal>
            <c:numRef>
              <c:f>Sheet1!$A$36:$A$50</c:f>
              <c:numCache>
                <c:formatCode>General</c:formatCode>
                <c:ptCount val="15"/>
                <c:pt idx="0">
                  <c:v>1.65</c:v>
                </c:pt>
                <c:pt idx="1">
                  <c:v>1.75</c:v>
                </c:pt>
                <c:pt idx="2">
                  <c:v>1.95</c:v>
                </c:pt>
                <c:pt idx="3">
                  <c:v>2.0499999999999998</c:v>
                </c:pt>
                <c:pt idx="4">
                  <c:v>2.25</c:v>
                </c:pt>
                <c:pt idx="5">
                  <c:v>3.45</c:v>
                </c:pt>
                <c:pt idx="6">
                  <c:v>3.55</c:v>
                </c:pt>
                <c:pt idx="7">
                  <c:v>3.95</c:v>
                </c:pt>
                <c:pt idx="8">
                  <c:v>4.25</c:v>
                </c:pt>
                <c:pt idx="9">
                  <c:v>4.45</c:v>
                </c:pt>
                <c:pt idx="10">
                  <c:v>0.95</c:v>
                </c:pt>
                <c:pt idx="11">
                  <c:v>1.05</c:v>
                </c:pt>
                <c:pt idx="12">
                  <c:v>1.25</c:v>
                </c:pt>
                <c:pt idx="13">
                  <c:v>1.35</c:v>
                </c:pt>
                <c:pt idx="14">
                  <c:v>1.45</c:v>
                </c:pt>
              </c:numCache>
            </c:numRef>
          </c:xVal>
          <c:yVal>
            <c:numRef>
              <c:f>Sheet1!$B$36:$B$50</c:f>
              <c:numCache>
                <c:formatCode>General</c:formatCode>
                <c:ptCount val="15"/>
                <c:pt idx="10">
                  <c:v>0.49065106970679401</c:v>
                </c:pt>
                <c:pt idx="11">
                  <c:v>0.30310473876681032</c:v>
                </c:pt>
                <c:pt idx="12">
                  <c:v>0</c:v>
                </c:pt>
                <c:pt idx="13">
                  <c:v>-9.968823685167498E-2</c:v>
                </c:pt>
                <c:pt idx="14">
                  <c:v>-0.1885369918853991</c:v>
                </c:pt>
              </c:numCache>
            </c:numRef>
          </c:yVal>
          <c:smooth val="0"/>
          <c:extLst>
            <c:ext xmlns:c16="http://schemas.microsoft.com/office/drawing/2014/chart" uri="{C3380CC4-5D6E-409C-BE32-E72D297353CC}">
              <c16:uniqueId val="{00000179-1ABB-4592-8776-98B59FCA8F1B}"/>
            </c:ext>
          </c:extLst>
        </c:ser>
        <c:dLbls>
          <c:dLblPos val="t"/>
          <c:showLegendKey val="0"/>
          <c:showVal val="1"/>
          <c:showCatName val="0"/>
          <c:showSerName val="0"/>
          <c:showPercent val="0"/>
          <c:showBubbleSize val="0"/>
        </c:dLbls>
        <c:axId val="104432768"/>
        <c:axId val="104434848"/>
      </c:scatterChart>
      <c:valAx>
        <c:axId val="104432768"/>
        <c:scaling>
          <c:orientation val="minMax"/>
          <c:max val="4.45"/>
          <c:min val="0.95"/>
        </c:scaling>
        <c:delete val="0"/>
        <c:axPos val="b"/>
        <c:title>
          <c:tx>
            <c:rich>
              <a:bodyPr/>
              <a:lstStyle/>
              <a:p>
                <a:pPr>
                  <a:defRPr sz="800" b="0">
                    <a:solidFill>
                      <a:schemeClr val="tx1"/>
                    </a:solidFill>
                    <a:latin typeface="Nexa Bold" panose="00000800000000000000" pitchFamily="2" charset="0"/>
                  </a:defRPr>
                </a:pPr>
                <a:r>
                  <a:rPr lang="de-DE" sz="800" b="0" dirty="0">
                    <a:solidFill>
                      <a:schemeClr val="tx1"/>
                    </a:solidFill>
                    <a:latin typeface="Nexa Bold" panose="00000800000000000000" pitchFamily="2" charset="0"/>
                  </a:rPr>
                  <a:t>Tested Prices (£)</a:t>
                </a:r>
              </a:p>
            </c:rich>
          </c:tx>
          <c:overlay val="0"/>
        </c:title>
        <c:numFmt formatCode="#,##0.00" sourceLinked="0"/>
        <c:majorTickMark val="none"/>
        <c:minorTickMark val="none"/>
        <c:tickLblPos val="low"/>
        <c:spPr>
          <a:noFill/>
          <a:ln w="9525" cap="flat" cmpd="sng" algn="ctr">
            <a:solidFill>
              <a:srgbClr val="E6E5E5"/>
            </a:solidFill>
            <a:round/>
          </a:ln>
          <a:effectLst/>
        </c:spPr>
        <c:txPr>
          <a:bodyPr rot="-60000000" vert="horz"/>
          <a:lstStyle/>
          <a:p>
            <a:pPr>
              <a:defRPr sz="800" b="0">
                <a:latin typeface="Nexa Book" panose="00000400000000000000" pitchFamily="2" charset="0"/>
              </a:defRPr>
            </a:pPr>
            <a:endParaRPr lang="en-CH"/>
          </a:p>
        </c:txPr>
        <c:crossAx val="104434848"/>
        <c:crosses val="autoZero"/>
        <c:crossBetween val="midCat"/>
      </c:valAx>
      <c:valAx>
        <c:axId val="104434848"/>
        <c:scaling>
          <c:orientation val="minMax"/>
        </c:scaling>
        <c:delete val="0"/>
        <c:axPos val="l"/>
        <c:numFmt formatCode="0%" sourceLinked="0"/>
        <c:majorTickMark val="none"/>
        <c:minorTickMark val="none"/>
        <c:tickLblPos val="nextTo"/>
        <c:spPr>
          <a:noFill/>
          <a:ln w="9525" cap="flat" cmpd="sng" algn="ctr">
            <a:solidFill>
              <a:srgbClr val="E6E5E5">
                <a:lumMod val="90000"/>
              </a:srgbClr>
            </a:solidFill>
            <a:round/>
          </a:ln>
          <a:effectLst/>
        </c:spPr>
        <c:txPr>
          <a:bodyPr rot="-60000000" vert="horz"/>
          <a:lstStyle/>
          <a:p>
            <a:pPr>
              <a:defRPr sz="800">
                <a:latin typeface="Nexa Book" panose="00000400000000000000" pitchFamily="2" charset="0"/>
              </a:defRPr>
            </a:pPr>
            <a:endParaRPr lang="en-CH"/>
          </a:p>
        </c:txPr>
        <c:crossAx val="104432768"/>
        <c:crosses val="autoZero"/>
        <c:crossBetween val="midCat"/>
      </c:valAx>
      <c:spPr>
        <a:noFill/>
        <a:ln w="25400">
          <a:noFill/>
        </a:ln>
        <a:effectLst/>
      </c:spPr>
    </c:plotArea>
    <c:plotVisOnly val="1"/>
    <c:dispBlanksAs val="gap"/>
    <c:showDLblsOverMax val="0"/>
    <c:extLst/>
  </c:chart>
  <c:spPr>
    <a:noFill/>
    <a:ln>
      <a:noFill/>
    </a:ln>
    <a:effectLst/>
  </c:spPr>
  <c:txPr>
    <a:bodyPr/>
    <a:lstStyle/>
    <a:p>
      <a:pPr>
        <a:defRPr>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endParaRPr lang="en-US"/>
          </a:p>
        </c:rich>
      </c:tx>
      <c:overlay val="0"/>
    </c:title>
    <c:autoTitleDeleted val="0"/>
    <c:plotArea>
      <c:layout>
        <c:manualLayout>
          <c:layoutTarget val="inner"/>
          <c:xMode val="edge"/>
          <c:yMode val="edge"/>
          <c:x val="5.9115847937389339E-2"/>
          <c:y val="8.9105156407957742E-2"/>
          <c:w val="0.88158916613043969"/>
          <c:h val="0.78023183875574809"/>
        </c:manualLayout>
      </c:layout>
      <c:lineChart>
        <c:grouping val="standard"/>
        <c:varyColors val="0"/>
        <c:ser>
          <c:idx val="3"/>
          <c:order val="0"/>
          <c:tx>
            <c:strRef>
              <c:f>Sheet1!$B$1</c:f>
              <c:strCache>
                <c:ptCount val="1"/>
                <c:pt idx="0">
                  <c:v>Volume Ix</c:v>
                </c:pt>
              </c:strCache>
            </c:strRef>
          </c:tx>
          <c:spPr>
            <a:ln w="25400">
              <a:solidFill>
                <a:srgbClr val="E6E5E5"/>
              </a:solidFill>
            </a:ln>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B$2:$B$8</c:f>
              <c:numCache>
                <c:formatCode>General</c:formatCode>
                <c:ptCount val="7"/>
                <c:pt idx="0">
                  <c:v>181.96910275065099</c:v>
                </c:pt>
                <c:pt idx="1">
                  <c:v>144.5804188230199</c:v>
                </c:pt>
                <c:pt idx="2">
                  <c:v>118.66985766816541</c:v>
                </c:pt>
                <c:pt idx="3">
                  <c:v>100</c:v>
                </c:pt>
                <c:pt idx="4">
                  <c:v>89.677313513162986</c:v>
                </c:pt>
                <c:pt idx="5">
                  <c:v>80.963620382440055</c:v>
                </c:pt>
                <c:pt idx="6">
                  <c:v>73.519048451626503</c:v>
                </c:pt>
              </c:numCache>
            </c:numRef>
          </c:val>
          <c:smooth val="0"/>
          <c:extLst>
            <c:ext xmlns:c16="http://schemas.microsoft.com/office/drawing/2014/chart" uri="{C3380CC4-5D6E-409C-BE32-E72D297353CC}">
              <c16:uniqueId val="{00000000-A825-5442-A60D-BD73EBEA929C}"/>
            </c:ext>
          </c:extLst>
        </c:ser>
        <c:ser>
          <c:idx val="0"/>
          <c:order val="1"/>
          <c:tx>
            <c:strRef>
              <c:f>Sheet1!$C$1</c:f>
              <c:strCache>
                <c:ptCount val="1"/>
                <c:pt idx="0">
                  <c:v>Value Ix</c:v>
                </c:pt>
              </c:strCache>
            </c:strRef>
          </c:tx>
          <c:spPr>
            <a:ln w="25400" cap="rnd">
              <a:solidFill>
                <a:srgbClr val="7ECAC4"/>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C$2:$C$8</c:f>
              <c:numCache>
                <c:formatCode>General</c:formatCode>
                <c:ptCount val="7"/>
                <c:pt idx="0">
                  <c:v>154.01443564120009</c:v>
                </c:pt>
                <c:pt idx="1">
                  <c:v>129.77050566012591</c:v>
                </c:pt>
                <c:pt idx="2">
                  <c:v>112.5911732496531</c:v>
                </c:pt>
                <c:pt idx="3">
                  <c:v>100</c:v>
                </c:pt>
                <c:pt idx="4">
                  <c:v>94.272686329585724</c:v>
                </c:pt>
                <c:pt idx="5">
                  <c:v>89.26149045073484</c:v>
                </c:pt>
                <c:pt idx="6">
                  <c:v>84.821567127811321</c:v>
                </c:pt>
              </c:numCache>
            </c:numRef>
          </c:val>
          <c:smooth val="0"/>
          <c:extLst>
            <c:ext xmlns:c16="http://schemas.microsoft.com/office/drawing/2014/chart" uri="{C3380CC4-5D6E-409C-BE32-E72D297353CC}">
              <c16:uniqueId val="{00000001-A825-5442-A60D-BD73EBEA929C}"/>
            </c:ext>
          </c:extLst>
        </c:ser>
        <c:ser>
          <c:idx val="2"/>
          <c:order val="2"/>
          <c:tx>
            <c:strRef>
              <c:f>Sheet1!$D$1</c:f>
              <c:strCache>
                <c:ptCount val="1"/>
                <c:pt idx="0">
                  <c:v>Gross Profit Ix</c:v>
                </c:pt>
              </c:strCache>
            </c:strRef>
          </c:tx>
          <c:spPr>
            <a:ln w="25400" cap="rnd">
              <a:solidFill>
                <a:srgbClr val="006C6D"/>
              </a:solidFill>
              <a:round/>
            </a:ln>
            <a:effectLst/>
          </c:spPr>
          <c:marker>
            <c:symbol val="none"/>
          </c:marker>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D$2:$D$8</c:f>
              <c:numCache>
                <c:formatCode>General</c:formatCode>
                <c:ptCount val="7"/>
                <c:pt idx="0">
                  <c:v>96.133128789914082</c:v>
                </c:pt>
                <c:pt idx="1">
                  <c:v>99.114088265681161</c:v>
                </c:pt>
                <c:pt idx="2">
                  <c:v>100.0107507854493</c:v>
                </c:pt>
                <c:pt idx="3">
                  <c:v>100</c:v>
                </c:pt>
                <c:pt idx="4">
                  <c:v>103.77776505727751</c:v>
                </c:pt>
                <c:pt idx="5">
                  <c:v>106.4243207829069</c:v>
                </c:pt>
                <c:pt idx="6">
                  <c:v>108.19844749861331</c:v>
                </c:pt>
              </c:numCache>
            </c:numRef>
          </c:val>
          <c:smooth val="0"/>
          <c:extLst>
            <c:ext xmlns:c16="http://schemas.microsoft.com/office/drawing/2014/chart" uri="{C3380CC4-5D6E-409C-BE32-E72D297353CC}">
              <c16:uniqueId val="{00000002-A825-5442-A60D-BD73EBEA929C}"/>
            </c:ext>
          </c:extLst>
        </c:ser>
        <c:dLbls>
          <c:showLegendKey val="0"/>
          <c:showVal val="0"/>
          <c:showCatName val="0"/>
          <c:showSerName val="0"/>
          <c:showPercent val="0"/>
          <c:showBubbleSize val="0"/>
        </c:dLbls>
        <c:marker val="1"/>
        <c:smooth val="0"/>
        <c:axId val="62286464"/>
        <c:axId val="62300544"/>
      </c:lineChart>
      <c:lineChart>
        <c:grouping val="standard"/>
        <c:varyColors val="0"/>
        <c:ser>
          <c:idx val="1"/>
          <c:order val="3"/>
          <c:tx>
            <c:strRef>
              <c:f>Sheet1!$E$1</c:f>
              <c:strCache>
                <c:ptCount val="1"/>
                <c:pt idx="0">
                  <c:v>Gross Margin %</c:v>
                </c:pt>
              </c:strCache>
            </c:strRef>
          </c:tx>
          <c:spPr>
            <a:ln w="25400" cap="rnd">
              <a:solidFill>
                <a:srgbClr val="006C6D"/>
              </a:solidFill>
              <a:prstDash val="dash"/>
              <a:round/>
            </a:ln>
            <a:effectLst>
              <a:outerShdw blurRad="50800" dist="50800" dir="5400000" sx="2000" sy="2000" algn="ctr" rotWithShape="0">
                <a:srgbClr val="000000">
                  <a:alpha val="43137"/>
                </a:srgbClr>
              </a:outerShdw>
            </a:effectLst>
          </c:spPr>
          <c:marker>
            <c:symbol val="none"/>
          </c:marker>
          <c:dPt>
            <c:idx val="2"/>
            <c:bubble3D val="0"/>
            <c:extLst>
              <c:ext xmlns:c16="http://schemas.microsoft.com/office/drawing/2014/chart" uri="{C3380CC4-5D6E-409C-BE32-E72D297353CC}">
                <c16:uniqueId val="{00000003-A825-5442-A60D-BD73EBEA929C}"/>
              </c:ext>
            </c:extLst>
          </c:dPt>
          <c:cat>
            <c:numRef>
              <c:f>Sheet1!$A$2:$A$8</c:f>
              <c:numCache>
                <c:formatCode>General</c:formatCode>
                <c:ptCount val="7"/>
                <c:pt idx="0">
                  <c:v>1.65</c:v>
                </c:pt>
                <c:pt idx="1">
                  <c:v>1.75</c:v>
                </c:pt>
                <c:pt idx="2">
                  <c:v>1.85</c:v>
                </c:pt>
                <c:pt idx="3">
                  <c:v>1.95</c:v>
                </c:pt>
                <c:pt idx="4">
                  <c:v>2.0499999999999998</c:v>
                </c:pt>
                <c:pt idx="5">
                  <c:v>2.15</c:v>
                </c:pt>
                <c:pt idx="6">
                  <c:v>2.25</c:v>
                </c:pt>
              </c:numCache>
            </c:numRef>
          </c:cat>
          <c:val>
            <c:numRef>
              <c:f>Sheet1!$E$2:$E$8</c:f>
              <c:numCache>
                <c:formatCode>General</c:formatCode>
                <c:ptCount val="7"/>
                <c:pt idx="0">
                  <c:v>0.20362966577475319</c:v>
                </c:pt>
                <c:pt idx="1">
                  <c:v>0.24913654201619589</c:v>
                </c:pt>
                <c:pt idx="2">
                  <c:v>0.28972375596126632</c:v>
                </c:pt>
                <c:pt idx="3">
                  <c:v>0.32614817873248342</c:v>
                </c:pt>
                <c:pt idx="4">
                  <c:v>0.35901899928211811</c:v>
                </c:pt>
                <c:pt idx="5">
                  <c:v>0.38883206908295043</c:v>
                </c:pt>
                <c:pt idx="6">
                  <c:v>0.41599508823481901</c:v>
                </c:pt>
              </c:numCache>
            </c:numRef>
          </c:val>
          <c:smooth val="0"/>
          <c:extLst>
            <c:ext xmlns:c16="http://schemas.microsoft.com/office/drawing/2014/chart" uri="{C3380CC4-5D6E-409C-BE32-E72D297353CC}">
              <c16:uniqueId val="{00000004-A825-5442-A60D-BD73EBEA929C}"/>
            </c:ext>
          </c:extLst>
        </c:ser>
        <c:dLbls>
          <c:showLegendKey val="0"/>
          <c:showVal val="0"/>
          <c:showCatName val="0"/>
          <c:showSerName val="0"/>
          <c:showPercent val="0"/>
          <c:showBubbleSize val="0"/>
        </c:dLbls>
        <c:marker val="1"/>
        <c:smooth val="0"/>
        <c:axId val="62303616"/>
        <c:axId val="62302080"/>
      </c:lineChart>
      <c:catAx>
        <c:axId val="62286464"/>
        <c:scaling>
          <c:orientation val="minMax"/>
        </c:scaling>
        <c:delete val="0"/>
        <c:axPos val="b"/>
        <c:title>
          <c:tx>
            <c:rich>
              <a:bodyPr/>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Shelf Price / Unit</a:t>
                </a:r>
              </a:p>
            </c:rich>
          </c:tx>
          <c:layout>
            <c:manualLayout>
              <c:xMode val="edge"/>
              <c:yMode val="edge"/>
              <c:x val="0.41797306829787001"/>
              <c:y val="0.93429903578838336"/>
            </c:manualLayout>
          </c:layout>
          <c:overlay val="0"/>
        </c:title>
        <c:numFmt formatCode="#,##0.00" sourceLinked="0"/>
        <c:majorTickMark val="none"/>
        <c:minorTickMark val="none"/>
        <c:tickLblPos val="low"/>
        <c:spPr>
          <a:noFill/>
          <a:ln w="9525" cap="flat" cmpd="sng" algn="ctr">
            <a:solidFill>
              <a:srgbClr val="E6E5E5"/>
            </a:solidFill>
            <a:round/>
          </a:ln>
          <a:effectLst/>
        </c:spPr>
        <c:txPr>
          <a:bodyPr rot="0" vert="horz"/>
          <a:lstStyle/>
          <a:p>
            <a:pPr>
              <a:defRPr sz="800">
                <a:latin typeface="Nexa Book" panose="00000400000000000000" pitchFamily="2" charset="0"/>
              </a:defRPr>
            </a:pPr>
            <a:endParaRPr lang="en-CH"/>
          </a:p>
        </c:txPr>
        <c:crossAx val="62300544"/>
        <c:crossesAt val="100"/>
        <c:auto val="0"/>
        <c:lblAlgn val="ctr"/>
        <c:lblOffset val="100"/>
        <c:tickMarkSkip val="1"/>
        <c:noMultiLvlLbl val="0"/>
      </c:catAx>
      <c:valAx>
        <c:axId val="62300544"/>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latin typeface="Nexa Book" panose="00000400000000000000" pitchFamily="2" charset="0"/>
              </a:defRPr>
            </a:pPr>
            <a:endParaRPr lang="en-CH"/>
          </a:p>
        </c:txPr>
        <c:crossAx val="62286464"/>
        <c:crosses val="autoZero"/>
        <c:crossBetween val="between"/>
      </c:valAx>
      <c:valAx>
        <c:axId val="62302080"/>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62303616"/>
        <c:crosses val="max"/>
        <c:crossBetween val="between"/>
      </c:valAx>
      <c:catAx>
        <c:axId val="62303616"/>
        <c:scaling>
          <c:orientation val="minMax"/>
        </c:scaling>
        <c:delete val="1"/>
        <c:axPos val="b"/>
        <c:numFmt formatCode="General" sourceLinked="1"/>
        <c:majorTickMark val="out"/>
        <c:minorTickMark val="none"/>
        <c:tickLblPos val="nextTo"/>
        <c:crossAx val="62302080"/>
        <c:crosses val="autoZero"/>
        <c:auto val="1"/>
        <c:lblAlgn val="ctr"/>
        <c:lblOffset val="100"/>
        <c:noMultiLvlLbl val="0"/>
      </c:catAx>
      <c:spPr>
        <a:noFill/>
        <a:ln>
          <a:noFill/>
        </a:ln>
        <a:effectLst/>
      </c:spPr>
    </c:plotArea>
    <c:legend>
      <c:legendPos val="t"/>
      <c:layout>
        <c:manualLayout>
          <c:xMode val="edge"/>
          <c:yMode val="edge"/>
          <c:x val="4.8076445742376767E-2"/>
          <c:y val="2.5687085350727643E-2"/>
          <c:w val="0.90116665761313819"/>
          <c:h val="5.6986430529476863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410230249504"/>
          <c:y val="2.7170386339721821E-2"/>
          <c:w val="0.86774252569994759"/>
          <c:h val="0.85363091822778381"/>
        </c:manualLayout>
      </c:layout>
      <c:scatterChart>
        <c:scatterStyle val="lineMarker"/>
        <c:varyColors val="0"/>
        <c:ser>
          <c:idx val="0"/>
          <c:order val="0"/>
          <c:tx>
            <c:strRef>
              <c:f>Sheet1!$B$1</c:f>
              <c:strCache>
                <c:ptCount val="1"/>
                <c:pt idx="0">
                  <c:v>PE up</c:v>
                </c:pt>
              </c:strCache>
            </c:strRef>
          </c:tx>
          <c:spPr>
            <a:ln w="9525" cap="rnd">
              <a:noFill/>
              <a:round/>
            </a:ln>
            <a:effectLst/>
          </c:spPr>
          <c:marker>
            <c:symbol val="circle"/>
            <c:size val="9"/>
            <c:spPr>
              <a:solidFill>
                <a:schemeClr val="tx1"/>
              </a:solidFill>
              <a:ln w="19050">
                <a:solidFill>
                  <a:schemeClr val="bg1"/>
                </a:solidFill>
              </a:ln>
              <a:effectLst/>
            </c:spPr>
          </c:marker>
          <c:dPt>
            <c:idx val="0"/>
            <c:bubble3D val="0"/>
            <c:extLst>
              <c:ext xmlns:c16="http://schemas.microsoft.com/office/drawing/2014/chart" uri="{C3380CC4-5D6E-409C-BE32-E72D297353CC}">
                <c16:uniqueId val="{00000000-B0D5-4750-8C19-9F9BE9CE2B4F}"/>
              </c:ext>
            </c:extLst>
          </c:dPt>
          <c:dPt>
            <c:idx val="1"/>
            <c:bubble3D val="0"/>
            <c:extLst>
              <c:ext xmlns:c16="http://schemas.microsoft.com/office/drawing/2014/chart" uri="{C3380CC4-5D6E-409C-BE32-E72D297353CC}">
                <c16:uniqueId val="{00000001-B0D5-4750-8C19-9F9BE9CE2B4F}"/>
              </c:ext>
            </c:extLst>
          </c:dPt>
          <c:dPt>
            <c:idx val="2"/>
            <c:bubble3D val="0"/>
            <c:extLst>
              <c:ext xmlns:c16="http://schemas.microsoft.com/office/drawing/2014/chart" uri="{C3380CC4-5D6E-409C-BE32-E72D297353CC}">
                <c16:uniqueId val="{00000002-B0D5-4750-8C19-9F9BE9CE2B4F}"/>
              </c:ext>
            </c:extLst>
          </c:dPt>
          <c:dPt>
            <c:idx val="3"/>
            <c:bubble3D val="0"/>
            <c:extLst>
              <c:ext xmlns:c16="http://schemas.microsoft.com/office/drawing/2014/chart" uri="{C3380CC4-5D6E-409C-BE32-E72D297353CC}">
                <c16:uniqueId val="{00000003-B0D5-4750-8C19-9F9BE9CE2B4F}"/>
              </c:ext>
            </c:extLst>
          </c:dPt>
          <c:dPt>
            <c:idx val="4"/>
            <c:bubble3D val="0"/>
            <c:extLst>
              <c:ext xmlns:c16="http://schemas.microsoft.com/office/drawing/2014/chart" uri="{C3380CC4-5D6E-409C-BE32-E72D297353CC}">
                <c16:uniqueId val="{00000004-B0D5-4750-8C19-9F9BE9CE2B4F}"/>
              </c:ext>
            </c:extLst>
          </c:dPt>
          <c:dPt>
            <c:idx val="5"/>
            <c:bubble3D val="0"/>
            <c:extLst>
              <c:ext xmlns:c16="http://schemas.microsoft.com/office/drawing/2014/chart" uri="{C3380CC4-5D6E-409C-BE32-E72D297353CC}">
                <c16:uniqueId val="{00000005-B0D5-4750-8C19-9F9BE9CE2B4F}"/>
              </c:ext>
            </c:extLst>
          </c:dPt>
          <c:dPt>
            <c:idx val="6"/>
            <c:bubble3D val="0"/>
            <c:extLst>
              <c:ext xmlns:c16="http://schemas.microsoft.com/office/drawing/2014/chart" uri="{C3380CC4-5D6E-409C-BE32-E72D297353CC}">
                <c16:uniqueId val="{00000006-B0D5-4750-8C19-9F9BE9CE2B4F}"/>
              </c:ext>
            </c:extLst>
          </c:dPt>
          <c:dPt>
            <c:idx val="7"/>
            <c:bubble3D val="0"/>
            <c:extLst>
              <c:ext xmlns:c16="http://schemas.microsoft.com/office/drawing/2014/chart" uri="{C3380CC4-5D6E-409C-BE32-E72D297353CC}">
                <c16:uniqueId val="{00000007-B0D5-4750-8C19-9F9BE9CE2B4F}"/>
              </c:ext>
            </c:extLst>
          </c:dPt>
          <c:dPt>
            <c:idx val="9"/>
            <c:bubble3D val="0"/>
            <c:extLst>
              <c:ext xmlns:c16="http://schemas.microsoft.com/office/drawing/2014/chart" uri="{C3380CC4-5D6E-409C-BE32-E72D297353CC}">
                <c16:uniqueId val="{0000000C-B0D5-4750-8C19-9F9BE9CE2B4F}"/>
              </c:ext>
            </c:extLst>
          </c:dPt>
          <c:dPt>
            <c:idx val="12"/>
            <c:bubble3D val="0"/>
            <c:extLst>
              <c:ext xmlns:c16="http://schemas.microsoft.com/office/drawing/2014/chart" uri="{C3380CC4-5D6E-409C-BE32-E72D297353CC}">
                <c16:uniqueId val="{00000009-B0D5-4750-8C19-9F9BE9CE2B4F}"/>
              </c:ext>
            </c:extLst>
          </c:dPt>
          <c:dPt>
            <c:idx val="13"/>
            <c:bubble3D val="0"/>
            <c:extLst>
              <c:ext xmlns:c16="http://schemas.microsoft.com/office/drawing/2014/chart" uri="{C3380CC4-5D6E-409C-BE32-E72D297353CC}">
                <c16:uniqueId val="{0000000A-B0D5-4750-8C19-9F9BE9CE2B4F}"/>
              </c:ext>
            </c:extLst>
          </c:dPt>
          <c:dPt>
            <c:idx val="14"/>
            <c:bubble3D val="0"/>
            <c:extLst>
              <c:ext xmlns:c16="http://schemas.microsoft.com/office/drawing/2014/chart" uri="{C3380CC4-5D6E-409C-BE32-E72D297353CC}">
                <c16:uniqueId val="{0000000B-B0D5-4750-8C19-9F9BE9CE2B4F}"/>
              </c:ext>
            </c:extLst>
          </c:dPt>
          <c:dPt>
            <c:idx val="16"/>
            <c:bubble3D val="0"/>
            <c:extLst>
              <c:ext xmlns:c16="http://schemas.microsoft.com/office/drawing/2014/chart" uri="{C3380CC4-5D6E-409C-BE32-E72D297353CC}">
                <c16:uniqueId val="{00000012-B0D5-4750-8C19-9F9BE9CE2B4F}"/>
              </c:ext>
            </c:extLst>
          </c:dPt>
          <c:dLbls>
            <c:dLbl>
              <c:idx val="0"/>
              <c:tx>
                <c:rich>
                  <a:bodyPr/>
                  <a:lstStyle/>
                  <a:p>
                    <a:r>
                      <a:rPr lang="en-US"/>
                      <a:t>Bount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B0D5-4750-8C19-9F9BE9CE2B4F}"/>
                </c:ext>
              </c:extLst>
            </c:dLbl>
            <c:dLbl>
              <c:idx val="1"/>
              <c:tx>
                <c:rich>
                  <a:bodyPr/>
                  <a:lstStyle/>
                  <a:p>
                    <a:r>
                      <a:rPr lang="en-US"/>
                      <a:t>Cadbury</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B0D5-4750-8C19-9F9BE9CE2B4F}"/>
                </c:ext>
              </c:extLst>
            </c:dLbl>
            <c:dLbl>
              <c:idx val="2"/>
              <c:tx>
                <c:rich>
                  <a:bodyPr/>
                  <a:lstStyle/>
                  <a:p>
                    <a:r>
                      <a:rPr lang="en-US"/>
                      <a:t>Raffaell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B0D5-4750-8C19-9F9BE9CE2B4F}"/>
                </c:ext>
              </c:extLst>
            </c:dLbl>
            <c:dLbl>
              <c:idx val="3"/>
              <c:tx>
                <c:rich>
                  <a:bodyPr/>
                  <a:lstStyle/>
                  <a:p>
                    <a:r>
                      <a:rPr lang="en-US"/>
                      <a:t>Ferrero</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B0D5-4750-8C19-9F9BE9CE2B4F}"/>
                </c:ext>
              </c:extLst>
            </c:dLbl>
            <c:dLbl>
              <c:idx val="4"/>
              <c:tx>
                <c:rich>
                  <a:bodyPr/>
                  <a:lstStyle/>
                  <a:p>
                    <a:r>
                      <a:rPr lang="en-US"/>
                      <a:t>Galaxy</a:t>
                    </a:r>
                  </a:p>
                </c:rich>
              </c:tx>
              <c:dLblPos val="t"/>
              <c:showLegendKey val="0"/>
              <c:showVal val="0"/>
              <c:showCatName val="0"/>
              <c:showSerName val="0"/>
              <c:showPercent val="0"/>
              <c:showBubbleSize val="0"/>
              <c:extLst>
                <c:ext xmlns:c15="http://schemas.microsoft.com/office/drawing/2012/chart" uri="{CE6537A1-D6FC-4f65-9D91-7224C49458BB}">
                  <c15:layout>
                    <c:manualLayout>
                      <c:w val="5.6451516574947062E-2"/>
                      <c:h val="5.3314955203308069E-2"/>
                    </c:manualLayout>
                  </c15:layout>
                  <c15:showDataLabelsRange val="1"/>
                </c:ext>
                <c:ext xmlns:c16="http://schemas.microsoft.com/office/drawing/2014/chart" uri="{C3380CC4-5D6E-409C-BE32-E72D297353CC}">
                  <c16:uniqueId val="{00000004-B0D5-4750-8C19-9F9BE9CE2B4F}"/>
                </c:ext>
              </c:extLst>
            </c:dLbl>
            <c:dLbl>
              <c:idx val="5"/>
              <c:tx>
                <c:rich>
                  <a:bodyPr/>
                  <a:lstStyle/>
                  <a:p>
                    <a:r>
                      <a:rPr lang="en-US"/>
                      <a:t>Godiva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B0D5-4750-8C19-9F9BE9CE2B4F}"/>
                </c:ext>
              </c:extLst>
            </c:dLbl>
            <c:dLbl>
              <c:idx val="6"/>
              <c:tx>
                <c:rich>
                  <a:bodyPr/>
                  <a:lstStyle/>
                  <a:p>
                    <a:r>
                      <a:rPr lang="en-US"/>
                      <a:t>Hershey'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B0D5-4750-8C19-9F9BE9CE2B4F}"/>
                </c:ext>
              </c:extLst>
            </c:dLbl>
            <c:dLbl>
              <c:idx val="7"/>
              <c:tx>
                <c:rich>
                  <a:bodyPr/>
                  <a:lstStyle/>
                  <a:p>
                    <a:r>
                      <a:rPr lang="en-US"/>
                      <a:t>Hershey's Kis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B0D5-4750-8C19-9F9BE9CE2B4F}"/>
                </c:ext>
              </c:extLst>
            </c:dLbl>
            <c:dLbl>
              <c:idx val="8"/>
              <c:tx>
                <c:rich>
                  <a:bodyPr/>
                  <a:lstStyle/>
                  <a:p>
                    <a:r>
                      <a:rPr lang="en-US"/>
                      <a:t>Reese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D362-4FD3-9AF9-43BE4338AF3D}"/>
                </c:ext>
              </c:extLst>
            </c:dLbl>
            <c:dLbl>
              <c:idx val="9"/>
              <c:tx>
                <c:rich>
                  <a:bodyPr/>
                  <a:lstStyle/>
                  <a:p>
                    <a:r>
                      <a:rPr lang="en-US"/>
                      <a:t>Kinder</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0D5-4750-8C19-9F9BE9CE2B4F}"/>
                </c:ext>
              </c:extLst>
            </c:dLbl>
            <c:dLbl>
              <c:idx val="10"/>
              <c:tx>
                <c:rich>
                  <a:bodyPr/>
                  <a:lstStyle/>
                  <a:p>
                    <a:r>
                      <a:rPr lang="en-US"/>
                      <a:t>Kit Kat </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D362-4FD3-9AF9-43BE4338AF3D}"/>
                </c:ext>
              </c:extLst>
            </c:dLbl>
            <c:dLbl>
              <c:idx val="11"/>
              <c:tx>
                <c:rich>
                  <a:bodyPr/>
                  <a:lstStyle/>
                  <a:p>
                    <a:r>
                      <a:rPr lang="en-US"/>
                      <a:t>M&amp;M'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D362-4FD3-9AF9-43BE4338AF3D}"/>
                </c:ext>
              </c:extLst>
            </c:dLbl>
            <c:dLbl>
              <c:idx val="12"/>
              <c:tx>
                <c:rich>
                  <a:bodyPr/>
                  <a:lstStyle/>
                  <a:p>
                    <a:r>
                      <a:rPr lang="en-US"/>
                      <a:t>Mackintosh</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9-B0D5-4750-8C19-9F9BE9CE2B4F}"/>
                </c:ext>
              </c:extLst>
            </c:dLbl>
            <c:dLbl>
              <c:idx val="13"/>
              <c:tx>
                <c:rich>
                  <a:bodyPr/>
                  <a:lstStyle/>
                  <a:p>
                    <a:r>
                      <a:rPr lang="en-US"/>
                      <a:t>Maltese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0D5-4750-8C19-9F9BE9CE2B4F}"/>
                </c:ext>
              </c:extLst>
            </c:dLbl>
            <c:dLbl>
              <c:idx val="14"/>
              <c:tx>
                <c:rich>
                  <a:bodyPr/>
                  <a:lstStyle/>
                  <a:p>
                    <a:r>
                      <a:rPr lang="en-US"/>
                      <a:t>Mars</a:t>
                    </a:r>
                  </a:p>
                </c:rich>
              </c:tx>
              <c:dLblPos val="t"/>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0D5-4750-8C19-9F9BE9CE2B4F}"/>
                </c:ext>
              </c:extLst>
            </c:dLbl>
            <c:dLbl>
              <c:idx val="15"/>
              <c:tx>
                <c:rich>
                  <a:bodyPr/>
                  <a:lstStyle/>
                  <a:p>
                    <a:r>
                      <a:rPr lang="en-US"/>
                      <a:t>Snickers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704-469A-BFAC-FD9CF5DB2713}"/>
                </c:ext>
              </c:extLst>
            </c:dLbl>
            <c:dLbl>
              <c:idx val="16"/>
              <c:tx>
                <c:rich>
                  <a:bodyPr/>
                  <a:lstStyle/>
                  <a:p>
                    <a:r>
                      <a:rPr lang="en-US"/>
                      <a:t>Tiffany</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0D5-4750-8C19-9F9BE9CE2B4F}"/>
                </c:ext>
              </c:extLst>
            </c:dLbl>
            <c:dLbl>
              <c:idx val="17"/>
              <c:tx>
                <c:rich>
                  <a:bodyPr/>
                  <a:lstStyle/>
                  <a:p>
                    <a:r>
                      <a:rPr lang="en-US"/>
                      <a:t>Toblerone</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704-469A-BFAC-FD9CF5DB2713}"/>
                </c:ext>
              </c:extLst>
            </c:dLbl>
            <c:dLbl>
              <c:idx val="18"/>
              <c:tx>
                <c:rich>
                  <a:bodyPr/>
                  <a:lstStyle/>
                  <a:p>
                    <a:r>
                      <a:rPr lang="en-US"/>
                      <a:t>Twix</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704-469A-BFAC-FD9CF5DB2713}"/>
                </c:ext>
              </c:extLst>
            </c:dLbl>
            <c:spPr>
              <a:noFill/>
              <a:ln>
                <a:noFill/>
              </a:ln>
              <a:effectLst/>
            </c:spPr>
            <c:txPr>
              <a:bodyPr rot="0" spcFirstLastPara="1" vertOverflow="ellipsis" vert="horz" wrap="non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0"/>
              </c:ext>
            </c:extLst>
          </c:dLbls>
          <c:xVal>
            <c:numRef>
              <c:f>Sheet1!$A$2:$A$20</c:f>
              <c:numCache>
                <c:formatCode>General</c:formatCode>
                <c:ptCount val="19"/>
                <c:pt idx="0">
                  <c:v>-0.88343693697576886</c:v>
                </c:pt>
                <c:pt idx="1">
                  <c:v>-0.91141922853421142</c:v>
                </c:pt>
                <c:pt idx="2">
                  <c:v>-1.017444572644552</c:v>
                </c:pt>
                <c:pt idx="3">
                  <c:v>-1.222118885048489</c:v>
                </c:pt>
                <c:pt idx="4">
                  <c:v>-0.9422142458439402</c:v>
                </c:pt>
                <c:pt idx="5">
                  <c:v>-1.079345021395981</c:v>
                </c:pt>
                <c:pt idx="6">
                  <c:v>-1.167930435419374</c:v>
                </c:pt>
                <c:pt idx="7">
                  <c:v>-1.0103917149047901</c:v>
                </c:pt>
                <c:pt idx="8">
                  <c:v>-0.93418193176759201</c:v>
                </c:pt>
                <c:pt idx="9">
                  <c:v>-1.5335800117792771</c:v>
                </c:pt>
                <c:pt idx="10">
                  <c:v>-1.7714355304092571</c:v>
                </c:pt>
                <c:pt idx="11">
                  <c:v>-1.329452504103239</c:v>
                </c:pt>
                <c:pt idx="12">
                  <c:v>-1.574327292164692</c:v>
                </c:pt>
                <c:pt idx="13">
                  <c:v>-1.8122482687827031</c:v>
                </c:pt>
                <c:pt idx="14">
                  <c:v>-1.1570611745540049</c:v>
                </c:pt>
                <c:pt idx="15">
                  <c:v>-1.1612466803730299</c:v>
                </c:pt>
                <c:pt idx="16">
                  <c:v>-1.794270011539614</c:v>
                </c:pt>
                <c:pt idx="17">
                  <c:v>-0.78266948561313021</c:v>
                </c:pt>
                <c:pt idx="18">
                  <c:v>-1.002015242341268</c:v>
                </c:pt>
              </c:numCache>
            </c:numRef>
          </c:xVal>
          <c:yVal>
            <c:numRef>
              <c:f>Sheet1!$B$2:$B$20</c:f>
              <c:numCache>
                <c:formatCode>General</c:formatCode>
                <c:ptCount val="19"/>
                <c:pt idx="0">
                  <c:v>-2.58111181843912</c:v>
                </c:pt>
                <c:pt idx="1">
                  <c:v>-1.541097527533061</c:v>
                </c:pt>
                <c:pt idx="2">
                  <c:v>-3.254939182146988</c:v>
                </c:pt>
                <c:pt idx="3">
                  <c:v>-2.0408411871455492</c:v>
                </c:pt>
                <c:pt idx="4">
                  <c:v>-1.5895559391133329</c:v>
                </c:pt>
                <c:pt idx="5">
                  <c:v>-3.0783103025444531</c:v>
                </c:pt>
                <c:pt idx="6">
                  <c:v>-1.383400343165792</c:v>
                </c:pt>
                <c:pt idx="7">
                  <c:v>-2.1809317575994309</c:v>
                </c:pt>
                <c:pt idx="8">
                  <c:v>-0.96586089688901</c:v>
                </c:pt>
                <c:pt idx="9">
                  <c:v>-0.79063485256679067</c:v>
                </c:pt>
                <c:pt idx="10">
                  <c:v>-2.5574017224655941</c:v>
                </c:pt>
                <c:pt idx="11">
                  <c:v>-3.3193823228075519</c:v>
                </c:pt>
                <c:pt idx="12">
                  <c:v>-2.1025647754461381</c:v>
                </c:pt>
                <c:pt idx="13">
                  <c:v>-1.3277657933051179</c:v>
                </c:pt>
                <c:pt idx="14">
                  <c:v>-1.733562939392608</c:v>
                </c:pt>
                <c:pt idx="15">
                  <c:v>-1.9159063630256969</c:v>
                </c:pt>
                <c:pt idx="16">
                  <c:v>-3.4216419137851282</c:v>
                </c:pt>
                <c:pt idx="17">
                  <c:v>-1.9700072743580119</c:v>
                </c:pt>
                <c:pt idx="18">
                  <c:v>-1.827708337183541</c:v>
                </c:pt>
              </c:numCache>
            </c:numRef>
          </c:yVal>
          <c:smooth val="0"/>
          <c:extLst>
            <c:ext xmlns:c15="http://schemas.microsoft.com/office/drawing/2012/chart" uri="{02D57815-91ED-43cb-92C2-25804820EDAC}">
              <c15:datalabelsRange>
                <c15:f>Sheet1!$C$2:$C$16</c15:f>
                <c15:dlblRangeCach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15:dlblRangeCache>
              </c15:datalabelsRange>
            </c:ext>
            <c:ext xmlns:c16="http://schemas.microsoft.com/office/drawing/2014/chart" uri="{C3380CC4-5D6E-409C-BE32-E72D297353CC}">
              <c16:uniqueId val="{0000000E-B0D5-4750-8C19-9F9BE9CE2B4F}"/>
            </c:ext>
          </c:extLst>
        </c:ser>
        <c:dLbls>
          <c:dLblPos val="t"/>
          <c:showLegendKey val="0"/>
          <c:showVal val="1"/>
          <c:showCatName val="0"/>
          <c:showSerName val="0"/>
          <c:showPercent val="0"/>
          <c:showBubbleSize val="0"/>
        </c:dLbls>
        <c:axId val="1923850352"/>
        <c:axId val="1923855760"/>
      </c:scatterChart>
      <c:valAx>
        <c:axId val="1923850352"/>
        <c:scaling>
          <c:orientation val="maxMin"/>
          <c:max val="0"/>
        </c:scaling>
        <c:delete val="0"/>
        <c:axPos val="t"/>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5760"/>
        <c:crossesAt val="-1"/>
        <c:crossBetween val="midCat"/>
      </c:valAx>
      <c:valAx>
        <c:axId val="1923855760"/>
        <c:scaling>
          <c:orientation val="maxMin"/>
        </c:scaling>
        <c:delete val="0"/>
        <c:axPos val="r"/>
        <c:numFmt formatCode="General" sourceLinked="1"/>
        <c:majorTickMark val="none"/>
        <c:minorTickMark val="none"/>
        <c:tickLblPos val="high"/>
        <c:spPr>
          <a:noFill/>
          <a:ln w="9525" cap="flat" cmpd="sng" algn="ctr">
            <a:solidFill>
              <a:schemeClr val="bg2">
                <a:lumMod val="90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923850352"/>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76101325592739E-2"/>
          <c:y val="0"/>
          <c:w val="0.91912433105429026"/>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E783-4DA7-9ABD-265595826B9E}"/>
              </c:ext>
            </c:extLst>
          </c:dPt>
          <c:dPt>
            <c:idx val="4"/>
            <c:invertIfNegative val="0"/>
            <c:bubble3D val="0"/>
            <c:spPr>
              <a:solidFill>
                <a:srgbClr val="BCBBBB"/>
              </a:solidFill>
            </c:spPr>
            <c:extLst>
              <c:ext xmlns:c16="http://schemas.microsoft.com/office/drawing/2014/chart" uri="{C3380CC4-5D6E-409C-BE32-E72D297353CC}">
                <c16:uniqueId val="{00000007-E783-4DA7-9ABD-265595826B9E}"/>
              </c:ext>
            </c:extLst>
          </c:dPt>
          <c:dPt>
            <c:idx val="5"/>
            <c:invertIfNegative val="0"/>
            <c:bubble3D val="0"/>
            <c:spPr>
              <a:solidFill>
                <a:srgbClr val="BCBBBB"/>
              </a:solidFill>
            </c:spPr>
            <c:extLst>
              <c:ext xmlns:c16="http://schemas.microsoft.com/office/drawing/2014/chart" uri="{C3380CC4-5D6E-409C-BE32-E72D297353CC}">
                <c16:uniqueId val="{00000008-E783-4DA7-9ABD-265595826B9E}"/>
              </c:ext>
            </c:extLst>
          </c:dPt>
          <c:dPt>
            <c:idx val="6"/>
            <c:invertIfNegative val="0"/>
            <c:bubble3D val="0"/>
            <c:spPr>
              <a:solidFill>
                <a:srgbClr val="BCBBBB"/>
              </a:solidFill>
            </c:spPr>
            <c:extLst>
              <c:ext xmlns:c16="http://schemas.microsoft.com/office/drawing/2014/chart" uri="{C3380CC4-5D6E-409C-BE32-E72D297353CC}">
                <c16:uniqueId val="{00000009-E783-4DA7-9ABD-265595826B9E}"/>
              </c:ext>
            </c:extLst>
          </c:dPt>
          <c:dPt>
            <c:idx val="7"/>
            <c:invertIfNegative val="0"/>
            <c:bubble3D val="0"/>
            <c:spPr>
              <a:solidFill>
                <a:srgbClr val="BCBBBB"/>
              </a:solidFill>
            </c:spPr>
            <c:extLst>
              <c:ext xmlns:c16="http://schemas.microsoft.com/office/drawing/2014/chart" uri="{C3380CC4-5D6E-409C-BE32-E72D297353CC}">
                <c16:uniqueId val="{0000000A-E783-4DA7-9ABD-265595826B9E}"/>
              </c:ext>
            </c:extLst>
          </c:dPt>
          <c:dPt>
            <c:idx val="8"/>
            <c:invertIfNegative val="0"/>
            <c:bubble3D val="0"/>
            <c:spPr>
              <a:solidFill>
                <a:srgbClr val="BCBBBB"/>
              </a:solidFill>
            </c:spPr>
            <c:extLst>
              <c:ext xmlns:c16="http://schemas.microsoft.com/office/drawing/2014/chart" uri="{C3380CC4-5D6E-409C-BE32-E72D297353CC}">
                <c16:uniqueId val="{0000000B-E783-4DA7-9ABD-265595826B9E}"/>
              </c:ext>
            </c:extLst>
          </c:dPt>
          <c:dPt>
            <c:idx val="9"/>
            <c:invertIfNegative val="0"/>
            <c:bubble3D val="0"/>
            <c:spPr>
              <a:solidFill>
                <a:srgbClr val="BCBBBB"/>
              </a:solidFill>
            </c:spPr>
            <c:extLst>
              <c:ext xmlns:c16="http://schemas.microsoft.com/office/drawing/2014/chart" uri="{C3380CC4-5D6E-409C-BE32-E72D297353CC}">
                <c16:uniqueId val="{0000000C-E783-4DA7-9ABD-265595826B9E}"/>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Maltesers (6.5%)</c:v>
                </c:pt>
                <c:pt idx="3">
                  <c:v>Tiffany (4.5%)</c:v>
                </c:pt>
                <c:pt idx="4">
                  <c:v>Snickers  (9.9%)</c:v>
                </c:pt>
                <c:pt idx="5">
                  <c:v>Kit Kat  (5.4%)</c:v>
                </c:pt>
                <c:pt idx="6">
                  <c:v>Reeses (3.3%)</c:v>
                </c:pt>
                <c:pt idx="7">
                  <c:v>Bounty (5.6%)</c:v>
                </c:pt>
                <c:pt idx="8">
                  <c:v>M&amp;M's (2.9%)</c:v>
                </c:pt>
                <c:pt idx="9">
                  <c:v>Godiva  (1.7%)</c:v>
                </c:pt>
              </c:strCache>
            </c:strRef>
          </c:cat>
          <c:val>
            <c:numRef>
              <c:f>Sheet1!$B$2:$B$11</c:f>
              <c:numCache>
                <c:formatCode>General</c:formatCode>
                <c:ptCount val="10"/>
                <c:pt idx="0">
                  <c:v>0.23261308420082949</c:v>
                </c:pt>
                <c:pt idx="1">
                  <c:v>0.15135842774820224</c:v>
                </c:pt>
                <c:pt idx="2">
                  <c:v>0.10385960947007636</c:v>
                </c:pt>
                <c:pt idx="3">
                  <c:v>9.3257973824918156E-2</c:v>
                </c:pt>
                <c:pt idx="4">
                  <c:v>7.8411352333980458E-2</c:v>
                </c:pt>
                <c:pt idx="5">
                  <c:v>5.3952532760630174E-2</c:v>
                </c:pt>
                <c:pt idx="6">
                  <c:v>4.8352184471660453E-2</c:v>
                </c:pt>
                <c:pt idx="7">
                  <c:v>4.7124660216326081E-2</c:v>
                </c:pt>
                <c:pt idx="8">
                  <c:v>3.4835114183009476E-2</c:v>
                </c:pt>
                <c:pt idx="9">
                  <c:v>3.0981003174116738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7617522987326877E-2"/>
          <c:y val="0"/>
          <c:w val="0.93396238194190517"/>
          <c:h val="1"/>
        </c:manualLayout>
      </c:layout>
      <c:barChart>
        <c:barDir val="bar"/>
        <c:grouping val="clustered"/>
        <c:varyColors val="1"/>
        <c:ser>
          <c:idx val="0"/>
          <c:order val="0"/>
          <c:tx>
            <c:strRef>
              <c:f>Sheet1!$B$1</c:f>
              <c:strCache>
                <c:ptCount val="1"/>
                <c:pt idx="0">
                  <c:v>Hershey's (2.8%)</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F369-46EE-B13A-AAF11CE81229}"/>
              </c:ext>
            </c:extLst>
          </c:dPt>
          <c:dPt>
            <c:idx val="4"/>
            <c:invertIfNegative val="0"/>
            <c:bubble3D val="0"/>
            <c:spPr>
              <a:solidFill>
                <a:srgbClr val="BCBBBB"/>
              </a:solidFill>
            </c:spPr>
            <c:extLst>
              <c:ext xmlns:c16="http://schemas.microsoft.com/office/drawing/2014/chart" uri="{C3380CC4-5D6E-409C-BE32-E72D297353CC}">
                <c16:uniqueId val="{00000009-F369-46EE-B13A-AAF11CE81229}"/>
              </c:ext>
            </c:extLst>
          </c:dPt>
          <c:dPt>
            <c:idx val="5"/>
            <c:invertIfNegative val="0"/>
            <c:bubble3D val="0"/>
            <c:spPr>
              <a:solidFill>
                <a:srgbClr val="BCBBBB"/>
              </a:solidFill>
            </c:spPr>
            <c:extLst>
              <c:ext xmlns:c16="http://schemas.microsoft.com/office/drawing/2014/chart" uri="{C3380CC4-5D6E-409C-BE32-E72D297353CC}">
                <c16:uniqueId val="{0000000A-F369-46EE-B13A-AAF11CE81229}"/>
              </c:ext>
            </c:extLst>
          </c:dPt>
          <c:dPt>
            <c:idx val="6"/>
            <c:invertIfNegative val="0"/>
            <c:bubble3D val="0"/>
            <c:spPr>
              <a:solidFill>
                <a:srgbClr val="BCBBBB"/>
              </a:solidFill>
            </c:spPr>
            <c:extLst>
              <c:ext xmlns:c16="http://schemas.microsoft.com/office/drawing/2014/chart" uri="{C3380CC4-5D6E-409C-BE32-E72D297353CC}">
                <c16:uniqueId val="{0000000B-F369-46EE-B13A-AAF11CE81229}"/>
              </c:ext>
            </c:extLst>
          </c:dPt>
          <c:dPt>
            <c:idx val="7"/>
            <c:invertIfNegative val="0"/>
            <c:bubble3D val="0"/>
            <c:spPr>
              <a:solidFill>
                <a:srgbClr val="BCBBBB"/>
              </a:solidFill>
            </c:spPr>
            <c:extLst>
              <c:ext xmlns:c16="http://schemas.microsoft.com/office/drawing/2014/chart" uri="{C3380CC4-5D6E-409C-BE32-E72D297353CC}">
                <c16:uniqueId val="{0000000C-F369-46EE-B13A-AAF11CE81229}"/>
              </c:ext>
            </c:extLst>
          </c:dPt>
          <c:dPt>
            <c:idx val="8"/>
            <c:invertIfNegative val="0"/>
            <c:bubble3D val="0"/>
            <c:spPr>
              <a:solidFill>
                <a:srgbClr val="BCBBBB"/>
              </a:solidFill>
            </c:spPr>
            <c:extLst>
              <c:ext xmlns:c16="http://schemas.microsoft.com/office/drawing/2014/chart" uri="{C3380CC4-5D6E-409C-BE32-E72D297353CC}">
                <c16:uniqueId val="{0000000D-F369-46EE-B13A-AAF11CE81229}"/>
              </c:ext>
            </c:extLst>
          </c:dPt>
          <c:dPt>
            <c:idx val="9"/>
            <c:invertIfNegative val="0"/>
            <c:bubble3D val="0"/>
            <c:spPr>
              <a:solidFill>
                <a:srgbClr val="BCBBBB"/>
              </a:solidFill>
            </c:spPr>
            <c:extLst>
              <c:ext xmlns:c16="http://schemas.microsoft.com/office/drawing/2014/chart" uri="{C3380CC4-5D6E-409C-BE32-E72D297353CC}">
                <c16:uniqueId val="{0000000E-F369-46EE-B13A-AAF11CE81229}"/>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16.4%)</c:v>
                </c:pt>
                <c:pt idx="1">
                  <c:v>Galaxy (21.5%)</c:v>
                </c:pt>
                <c:pt idx="2">
                  <c:v>Tiffany (4.5%)</c:v>
                </c:pt>
                <c:pt idx="3">
                  <c:v>Maltesers (6.5%)</c:v>
                </c:pt>
                <c:pt idx="4">
                  <c:v>Snickers  (9.9%)</c:v>
                </c:pt>
                <c:pt idx="5">
                  <c:v>Kit Kat  (5.4%)</c:v>
                </c:pt>
                <c:pt idx="6">
                  <c:v>Reeses (3.3%)</c:v>
                </c:pt>
                <c:pt idx="7">
                  <c:v>Bounty (5.6%)</c:v>
                </c:pt>
                <c:pt idx="8">
                  <c:v>Cadbury (3.4%)</c:v>
                </c:pt>
                <c:pt idx="9">
                  <c:v>M&amp;M's (2.9%)</c:v>
                </c:pt>
              </c:strCache>
            </c:strRef>
          </c:cat>
          <c:val>
            <c:numRef>
              <c:f>Sheet1!$B$2:$B$11</c:f>
              <c:numCache>
                <c:formatCode>General</c:formatCode>
                <c:ptCount val="10"/>
                <c:pt idx="0">
                  <c:v>0.22317961848728249</c:v>
                </c:pt>
                <c:pt idx="1">
                  <c:v>0.14240047454306151</c:v>
                </c:pt>
                <c:pt idx="2">
                  <c:v>0.11347961404310219</c:v>
                </c:pt>
                <c:pt idx="3">
                  <c:v>0.1000001314182033</c:v>
                </c:pt>
                <c:pt idx="4">
                  <c:v>7.8378761577426528E-2</c:v>
                </c:pt>
                <c:pt idx="5">
                  <c:v>5.8544479149474728E-2</c:v>
                </c:pt>
                <c:pt idx="6">
                  <c:v>5.1879931125146099E-2</c:v>
                </c:pt>
                <c:pt idx="7">
                  <c:v>3.9250474520303183E-2</c:v>
                </c:pt>
                <c:pt idx="8">
                  <c:v>3.2990291342169367E-2</c:v>
                </c:pt>
                <c:pt idx="9">
                  <c:v>3.2920420393565249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517990250367925E-2"/>
          <c:y val="0"/>
          <c:w val="0.92544934579550853"/>
          <c:h val="0.99604906009628469"/>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090A-4F9D-8E6A-6815430192BD}"/>
              </c:ext>
            </c:extLst>
          </c:dPt>
          <c:dPt>
            <c:idx val="1"/>
            <c:invertIfNegative val="0"/>
            <c:bubble3D val="0"/>
            <c:spPr>
              <a:solidFill>
                <a:srgbClr val="00A097"/>
              </a:solidFill>
            </c:spPr>
            <c:extLst>
              <c:ext xmlns:c16="http://schemas.microsoft.com/office/drawing/2014/chart" uri="{C3380CC4-5D6E-409C-BE32-E72D297353CC}">
                <c16:uniqueId val="{00000003-090A-4F9D-8E6A-6815430192BD}"/>
              </c:ext>
            </c:extLst>
          </c:dPt>
          <c:dPt>
            <c:idx val="2"/>
            <c:invertIfNegative val="0"/>
            <c:bubble3D val="0"/>
            <c:spPr>
              <a:solidFill>
                <a:srgbClr val="00A097"/>
              </a:solidFill>
            </c:spPr>
            <c:extLst>
              <c:ext xmlns:c16="http://schemas.microsoft.com/office/drawing/2014/chart" uri="{C3380CC4-5D6E-409C-BE32-E72D297353CC}">
                <c16:uniqueId val="{00000005-090A-4F9D-8E6A-6815430192BD}"/>
              </c:ext>
            </c:extLst>
          </c:dPt>
          <c:dPt>
            <c:idx val="3"/>
            <c:invertIfNegative val="0"/>
            <c:bubble3D val="0"/>
            <c:spPr>
              <a:solidFill>
                <a:srgbClr val="BCBBBB"/>
              </a:solidFill>
            </c:spPr>
            <c:extLst>
              <c:ext xmlns:c16="http://schemas.microsoft.com/office/drawing/2014/chart" uri="{C3380CC4-5D6E-409C-BE32-E72D297353CC}">
                <c16:uniqueId val="{00000006-BE39-474D-8163-14F14D1234A8}"/>
              </c:ext>
            </c:extLst>
          </c:dPt>
          <c:dPt>
            <c:idx val="4"/>
            <c:invertIfNegative val="0"/>
            <c:bubble3D val="0"/>
            <c:spPr>
              <a:solidFill>
                <a:srgbClr val="BCBBBB"/>
              </a:solidFill>
            </c:spPr>
            <c:extLst>
              <c:ext xmlns:c16="http://schemas.microsoft.com/office/drawing/2014/chart" uri="{C3380CC4-5D6E-409C-BE32-E72D297353CC}">
                <c16:uniqueId val="{00000007-BE39-474D-8163-14F14D1234A8}"/>
              </c:ext>
            </c:extLst>
          </c:dPt>
          <c:dPt>
            <c:idx val="5"/>
            <c:invertIfNegative val="0"/>
            <c:bubble3D val="0"/>
            <c:spPr>
              <a:solidFill>
                <a:srgbClr val="BCBBBB"/>
              </a:solidFill>
            </c:spPr>
            <c:extLst>
              <c:ext xmlns:c16="http://schemas.microsoft.com/office/drawing/2014/chart" uri="{C3380CC4-5D6E-409C-BE32-E72D297353CC}">
                <c16:uniqueId val="{00000009-BE39-474D-8163-14F14D1234A8}"/>
              </c:ext>
            </c:extLst>
          </c:dPt>
          <c:dPt>
            <c:idx val="6"/>
            <c:invertIfNegative val="0"/>
            <c:bubble3D val="0"/>
            <c:spPr>
              <a:solidFill>
                <a:srgbClr val="BCBBBB"/>
              </a:solidFill>
            </c:spPr>
            <c:extLst>
              <c:ext xmlns:c16="http://schemas.microsoft.com/office/drawing/2014/chart" uri="{C3380CC4-5D6E-409C-BE32-E72D297353CC}">
                <c16:uniqueId val="{00000008-BE39-474D-8163-14F14D1234A8}"/>
              </c:ext>
            </c:extLst>
          </c:dPt>
          <c:dPt>
            <c:idx val="7"/>
            <c:invertIfNegative val="0"/>
            <c:bubble3D val="0"/>
            <c:spPr>
              <a:solidFill>
                <a:srgbClr val="BCBBBB"/>
              </a:solidFill>
            </c:spPr>
            <c:extLst>
              <c:ext xmlns:c16="http://schemas.microsoft.com/office/drawing/2014/chart" uri="{C3380CC4-5D6E-409C-BE32-E72D297353CC}">
                <c16:uniqueId val="{0000000A-BE39-474D-8163-14F14D1234A8}"/>
              </c:ext>
            </c:extLst>
          </c:dPt>
          <c:dPt>
            <c:idx val="8"/>
            <c:invertIfNegative val="0"/>
            <c:bubble3D val="0"/>
            <c:spPr>
              <a:solidFill>
                <a:srgbClr val="BCBBBB"/>
              </a:solidFill>
            </c:spPr>
            <c:extLst>
              <c:ext xmlns:c16="http://schemas.microsoft.com/office/drawing/2014/chart" uri="{C3380CC4-5D6E-409C-BE32-E72D297353CC}">
                <c16:uniqueId val="{0000000B-BE39-474D-8163-14F14D1234A8}"/>
              </c:ext>
            </c:extLst>
          </c:dPt>
          <c:dPt>
            <c:idx val="9"/>
            <c:invertIfNegative val="0"/>
            <c:bubble3D val="0"/>
            <c:spPr>
              <a:solidFill>
                <a:srgbClr val="BCBBBB"/>
              </a:solidFill>
            </c:spPr>
            <c:extLst>
              <c:ext xmlns:c16="http://schemas.microsoft.com/office/drawing/2014/chart" uri="{C3380CC4-5D6E-409C-BE32-E72D297353CC}">
                <c16:uniqueId val="{0000000C-BE39-474D-8163-14F14D1234A8}"/>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0A-4F9D-8E6A-6815430192BD}"/>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0A-4F9D-8E6A-6815430192BD}"/>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0A-4F9D-8E6A-6815430192BD}"/>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Bounty Bar 57g (4.0%)</c:v>
                </c:pt>
                <c:pt idx="5">
                  <c:v>Kinder Bueno White 39g (2.1%)</c:v>
                </c:pt>
                <c:pt idx="6">
                  <c:v>Galaxy Hazelnut Chocolate 36g (2.8%)</c:v>
                </c:pt>
                <c:pt idx="7">
                  <c:v>Reeses Peanut Butter Cups 46g (1.5%)</c:v>
                </c:pt>
                <c:pt idx="8">
                  <c:v>Twix Bar 50g (3.5%)</c:v>
                </c:pt>
                <c:pt idx="9">
                  <c:v>Kinder Chocolate Bar 50g (1.7%)</c:v>
                </c:pt>
              </c:strCache>
            </c:strRef>
          </c:cat>
          <c:val>
            <c:numRef>
              <c:f>Sheet1!$B$2:$B$11</c:f>
              <c:numCache>
                <c:formatCode>General</c:formatCode>
                <c:ptCount val="10"/>
                <c:pt idx="0">
                  <c:v>0.11465108538450018</c:v>
                </c:pt>
                <c:pt idx="1">
                  <c:v>0.11075479979672828</c:v>
                </c:pt>
                <c:pt idx="2">
                  <c:v>7.4461392755142852E-2</c:v>
                </c:pt>
                <c:pt idx="3">
                  <c:v>5.9479405598337594E-2</c:v>
                </c:pt>
                <c:pt idx="4">
                  <c:v>3.8673134517203431E-2</c:v>
                </c:pt>
                <c:pt idx="5">
                  <c:v>3.2210982063970571E-2</c:v>
                </c:pt>
                <c:pt idx="6">
                  <c:v>2.9283611152031395E-2</c:v>
                </c:pt>
                <c:pt idx="7">
                  <c:v>2.679902598962236E-2</c:v>
                </c:pt>
                <c:pt idx="8">
                  <c:v>2.6586653654770028E-2</c:v>
                </c:pt>
                <c:pt idx="9">
                  <c:v>2.6143339903560107E-2</c:v>
                </c:pt>
              </c:numCache>
            </c:numRef>
          </c:val>
          <c:extLst>
            <c:ext xmlns:c16="http://schemas.microsoft.com/office/drawing/2014/chart" uri="{C3380CC4-5D6E-409C-BE32-E72D297353CC}">
              <c16:uniqueId val="{00000006-090A-4F9D-8E6A-6815430192BD}"/>
            </c:ext>
          </c:extLst>
        </c:ser>
        <c:dLbls>
          <c:dLblPos val="ctr"/>
          <c:showLegendKey val="0"/>
          <c:showVal val="1"/>
          <c:showCatName val="0"/>
          <c:showSerName val="0"/>
          <c:showPercent val="0"/>
          <c:showBubbleSize val="0"/>
        </c:dLbls>
        <c:gapWidth val="16"/>
        <c:axId val="447529344"/>
        <c:axId val="447542400"/>
      </c:barChart>
      <c:catAx>
        <c:axId val="447529344"/>
        <c:scaling>
          <c:orientation val="maxMin"/>
        </c:scaling>
        <c:delete val="0"/>
        <c:axPos val="l"/>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542400"/>
        <c:crosses val="autoZero"/>
        <c:auto val="1"/>
        <c:lblAlgn val="ctr"/>
        <c:lblOffset val="100"/>
        <c:noMultiLvlLbl val="0"/>
      </c:catAx>
      <c:valAx>
        <c:axId val="447542400"/>
        <c:scaling>
          <c:orientation val="minMax"/>
        </c:scaling>
        <c:delete val="1"/>
        <c:axPos val="t"/>
        <c:numFmt formatCode="General" sourceLinked="1"/>
        <c:majorTickMark val="none"/>
        <c:minorTickMark val="none"/>
        <c:tickLblPos val="nextTo"/>
        <c:crossAx val="447529344"/>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701982385886006E-3"/>
          <c:y val="0"/>
          <c:w val="0.94818715794178055"/>
          <c:h val="1"/>
        </c:manualLayout>
      </c:layout>
      <c:barChart>
        <c:barDir val="bar"/>
        <c:grouping val="clustered"/>
        <c:varyColors val="1"/>
        <c:ser>
          <c:idx val="0"/>
          <c:order val="0"/>
          <c:tx>
            <c:strRef>
              <c:f>Sheet1!$B$1</c:f>
              <c:strCache>
                <c:ptCount val="1"/>
                <c:pt idx="0">
                  <c:v>Hershey's Choco Tubes Cookies N' Creme 18g (0.1%)</c:v>
                </c:pt>
              </c:strCache>
            </c:strRef>
          </c:tx>
          <c:spPr>
            <a:solidFill>
              <a:srgbClr val="FFFFFF">
                <a:lumMod val="85000"/>
              </a:srgbClr>
            </a:solidFill>
          </c:spPr>
          <c:invertIfNegative val="0"/>
          <c:dPt>
            <c:idx val="0"/>
            <c:invertIfNegative val="0"/>
            <c:bubble3D val="0"/>
            <c:spPr>
              <a:solidFill>
                <a:srgbClr val="00A097"/>
              </a:solidFill>
            </c:spPr>
            <c:extLst>
              <c:ext xmlns:c16="http://schemas.microsoft.com/office/drawing/2014/chart" uri="{C3380CC4-5D6E-409C-BE32-E72D297353CC}">
                <c16:uniqueId val="{00000001-ADEE-4D0F-B25F-76D642951510}"/>
              </c:ext>
            </c:extLst>
          </c:dPt>
          <c:dPt>
            <c:idx val="1"/>
            <c:invertIfNegative val="0"/>
            <c:bubble3D val="0"/>
            <c:spPr>
              <a:solidFill>
                <a:srgbClr val="00A097"/>
              </a:solidFill>
            </c:spPr>
            <c:extLst>
              <c:ext xmlns:c16="http://schemas.microsoft.com/office/drawing/2014/chart" uri="{C3380CC4-5D6E-409C-BE32-E72D297353CC}">
                <c16:uniqueId val="{00000003-ADEE-4D0F-B25F-76D642951510}"/>
              </c:ext>
            </c:extLst>
          </c:dPt>
          <c:dPt>
            <c:idx val="2"/>
            <c:invertIfNegative val="0"/>
            <c:bubble3D val="0"/>
            <c:spPr>
              <a:solidFill>
                <a:srgbClr val="00A097"/>
              </a:solidFill>
            </c:spPr>
            <c:extLst>
              <c:ext xmlns:c16="http://schemas.microsoft.com/office/drawing/2014/chart" uri="{C3380CC4-5D6E-409C-BE32-E72D297353CC}">
                <c16:uniqueId val="{00000005-ADEE-4D0F-B25F-76D642951510}"/>
              </c:ext>
            </c:extLst>
          </c:dPt>
          <c:dPt>
            <c:idx val="3"/>
            <c:invertIfNegative val="0"/>
            <c:bubble3D val="0"/>
            <c:spPr>
              <a:solidFill>
                <a:srgbClr val="BCBBBB"/>
              </a:solidFill>
            </c:spPr>
            <c:extLst>
              <c:ext xmlns:c16="http://schemas.microsoft.com/office/drawing/2014/chart" uri="{C3380CC4-5D6E-409C-BE32-E72D297353CC}">
                <c16:uniqueId val="{00000008-AFC5-49AA-9832-692113901CCD}"/>
              </c:ext>
            </c:extLst>
          </c:dPt>
          <c:dPt>
            <c:idx val="4"/>
            <c:invertIfNegative val="0"/>
            <c:bubble3D val="0"/>
            <c:spPr>
              <a:solidFill>
                <a:srgbClr val="BCBBBB"/>
              </a:solidFill>
            </c:spPr>
            <c:extLst>
              <c:ext xmlns:c16="http://schemas.microsoft.com/office/drawing/2014/chart" uri="{C3380CC4-5D6E-409C-BE32-E72D297353CC}">
                <c16:uniqueId val="{00000009-AFC5-49AA-9832-692113901CCD}"/>
              </c:ext>
            </c:extLst>
          </c:dPt>
          <c:dPt>
            <c:idx val="5"/>
            <c:invertIfNegative val="0"/>
            <c:bubble3D val="0"/>
            <c:spPr>
              <a:solidFill>
                <a:srgbClr val="BCBBBB"/>
              </a:solidFill>
            </c:spPr>
            <c:extLst>
              <c:ext xmlns:c16="http://schemas.microsoft.com/office/drawing/2014/chart" uri="{C3380CC4-5D6E-409C-BE32-E72D297353CC}">
                <c16:uniqueId val="{0000000A-AFC5-49AA-9832-692113901CCD}"/>
              </c:ext>
            </c:extLst>
          </c:dPt>
          <c:dPt>
            <c:idx val="6"/>
            <c:invertIfNegative val="0"/>
            <c:bubble3D val="0"/>
            <c:spPr>
              <a:solidFill>
                <a:srgbClr val="BCBBBB"/>
              </a:solidFill>
            </c:spPr>
            <c:extLst>
              <c:ext xmlns:c16="http://schemas.microsoft.com/office/drawing/2014/chart" uri="{C3380CC4-5D6E-409C-BE32-E72D297353CC}">
                <c16:uniqueId val="{0000000B-AFC5-49AA-9832-692113901CCD}"/>
              </c:ext>
            </c:extLst>
          </c:dPt>
          <c:dPt>
            <c:idx val="7"/>
            <c:invertIfNegative val="0"/>
            <c:bubble3D val="0"/>
            <c:spPr>
              <a:solidFill>
                <a:srgbClr val="BCBBBB"/>
              </a:solidFill>
            </c:spPr>
            <c:extLst>
              <c:ext xmlns:c16="http://schemas.microsoft.com/office/drawing/2014/chart" uri="{C3380CC4-5D6E-409C-BE32-E72D297353CC}">
                <c16:uniqueId val="{0000000C-AFC5-49AA-9832-692113901CCD}"/>
              </c:ext>
            </c:extLst>
          </c:dPt>
          <c:dPt>
            <c:idx val="8"/>
            <c:invertIfNegative val="0"/>
            <c:bubble3D val="0"/>
            <c:spPr>
              <a:solidFill>
                <a:srgbClr val="BCBBBB"/>
              </a:solidFill>
            </c:spPr>
            <c:extLst>
              <c:ext xmlns:c16="http://schemas.microsoft.com/office/drawing/2014/chart" uri="{C3380CC4-5D6E-409C-BE32-E72D297353CC}">
                <c16:uniqueId val="{0000000D-AFC5-49AA-9832-692113901CCD}"/>
              </c:ext>
            </c:extLst>
          </c:dPt>
          <c:dPt>
            <c:idx val="9"/>
            <c:invertIfNegative val="0"/>
            <c:bubble3D val="0"/>
            <c:spPr>
              <a:solidFill>
                <a:srgbClr val="BCBBBB"/>
              </a:solidFill>
            </c:spPr>
            <c:extLst>
              <c:ext xmlns:c16="http://schemas.microsoft.com/office/drawing/2014/chart" uri="{C3380CC4-5D6E-409C-BE32-E72D297353CC}">
                <c16:uniqueId val="{0000000E-AFC5-49AA-9832-692113901CCD}"/>
              </c:ext>
            </c:extLst>
          </c:dPt>
          <c:dPt>
            <c:idx val="16"/>
            <c:invertIfNegative val="0"/>
            <c:bubble3D val="0"/>
            <c:spPr>
              <a:solidFill>
                <a:srgbClr val="FFFFFF">
                  <a:lumMod val="85000"/>
                </a:srgbClr>
              </a:solidFill>
              <a:ln>
                <a:noFill/>
              </a:ln>
              <a:effectLst/>
            </c:spPr>
            <c:extLst>
              <c:ext xmlns:c16="http://schemas.microsoft.com/office/drawing/2014/chart" uri="{C3380CC4-5D6E-409C-BE32-E72D297353CC}">
                <c16:uniqueId val="{00000007-ADEE-4D0F-B25F-76D642951510}"/>
              </c:ext>
            </c:extLst>
          </c:dPt>
          <c:dLbls>
            <c:dLbl>
              <c:idx val="0"/>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EE-4D0F-B25F-76D642951510}"/>
                </c:ext>
              </c:extLst>
            </c:dLbl>
            <c:dLbl>
              <c:idx val="1"/>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EE-4D0F-B25F-76D642951510}"/>
                </c:ext>
              </c:extLst>
            </c:dLbl>
            <c:dLbl>
              <c:idx val="2"/>
              <c:numFmt formatCode="0%" sourceLinked="0"/>
              <c:spPr>
                <a:noFill/>
                <a:ln>
                  <a:noFill/>
                </a:ln>
                <a:effectLst/>
              </c:spPr>
              <c:txPr>
                <a:bodyPr rot="0" vertOverflow="overflow" horzOverflow="overflow" vert="horz" wrap="none">
                  <a:spAutoFit/>
                </a:bodyPr>
                <a:lstStyle/>
                <a:p>
                  <a:pPr>
                    <a:defRPr sz="800">
                      <a:solidFill>
                        <a:schemeClr val="bg1"/>
                      </a:solidFill>
                      <a:latin typeface="Nexa Book" panose="00000400000000000000" pitchFamily="2" charset="0"/>
                    </a:defRPr>
                  </a:pPr>
                  <a:endParaRPr lang="en-CH"/>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EE-4D0F-B25F-76D642951510}"/>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inder Bueno Milk&amp;Hazelnut 43g (9.8%)</c:v>
                </c:pt>
                <c:pt idx="1">
                  <c:v>Maltesers Chocolate 37g (4.7%)</c:v>
                </c:pt>
                <c:pt idx="2">
                  <c:v>Kit Kat 17.7g (4.0%)</c:v>
                </c:pt>
                <c:pt idx="3">
                  <c:v>Snickers Bar 50g (6.5%)</c:v>
                </c:pt>
                <c:pt idx="4">
                  <c:v>Kinder Chocolate Bar 50g (1.7%)</c:v>
                </c:pt>
                <c:pt idx="5">
                  <c:v>Hershey's Cookies N' Crème 12.76g (0.9%)</c:v>
                </c:pt>
                <c:pt idx="6">
                  <c:v>Kinder Bueno White 39g (2.1%)</c:v>
                </c:pt>
                <c:pt idx="7">
                  <c:v>Bounty Bar 57g (4.0%)</c:v>
                </c:pt>
                <c:pt idx="8">
                  <c:v>Reeses Peanut Butter Cups 46g (1.5%)</c:v>
                </c:pt>
                <c:pt idx="9">
                  <c:v>Galaxy Hazelnut Chocolate 36g (2.8%)</c:v>
                </c:pt>
              </c:strCache>
            </c:strRef>
          </c:cat>
          <c:val>
            <c:numRef>
              <c:f>Sheet1!$B$2:$B$11</c:f>
              <c:numCache>
                <c:formatCode>General</c:formatCode>
                <c:ptCount val="10"/>
                <c:pt idx="0">
                  <c:v>0.12780320845625595</c:v>
                </c:pt>
                <c:pt idx="1">
                  <c:v>0.12501087698390256</c:v>
                </c:pt>
                <c:pt idx="2">
                  <c:v>7.6782197584121789E-2</c:v>
                </c:pt>
                <c:pt idx="3">
                  <c:v>4.6437919365746018E-2</c:v>
                </c:pt>
                <c:pt idx="4">
                  <c:v>3.8324393794407351E-2</c:v>
                </c:pt>
                <c:pt idx="5">
                  <c:v>3.672656200031877E-2</c:v>
                </c:pt>
                <c:pt idx="6">
                  <c:v>3.6532835457294875E-2</c:v>
                </c:pt>
                <c:pt idx="7">
                  <c:v>3.5729622813520878E-2</c:v>
                </c:pt>
                <c:pt idx="8">
                  <c:v>2.6451818920098628E-2</c:v>
                </c:pt>
                <c:pt idx="9">
                  <c:v>2.3006585816232262E-2</c:v>
                </c:pt>
              </c:numCache>
            </c:numRef>
          </c:val>
          <c:extLst>
            <c:ext xmlns:c16="http://schemas.microsoft.com/office/drawing/2014/chart" uri="{C3380CC4-5D6E-409C-BE32-E72D297353CC}">
              <c16:uniqueId val="{00000008-ADEE-4D0F-B25F-76D642951510}"/>
            </c:ext>
          </c:extLst>
        </c:ser>
        <c:dLbls>
          <c:dLblPos val="ctr"/>
          <c:showLegendKey val="0"/>
          <c:showVal val="1"/>
          <c:showCatName val="0"/>
          <c:showSerName val="0"/>
          <c:showPercent val="0"/>
          <c:showBubbleSize val="0"/>
        </c:dLbls>
        <c:gapWidth val="16"/>
        <c:axId val="447391232"/>
        <c:axId val="447400192"/>
      </c:barChart>
      <c:catAx>
        <c:axId val="447391232"/>
        <c:scaling>
          <c:orientation val="maxMin"/>
        </c:scaling>
        <c:delete val="0"/>
        <c:axPos val="r"/>
        <c:numFmt formatCode="General" sourceLinked="1"/>
        <c:majorTickMark val="out"/>
        <c:minorTickMark val="none"/>
        <c:tickLblPos val="none"/>
        <c:spPr>
          <a:noFill/>
          <a:ln w="9525" cap="flat" cmpd="sng" algn="ctr">
            <a:noFill/>
            <a:round/>
          </a:ln>
          <a:effectLst/>
        </c:spPr>
        <c:txPr>
          <a:bodyPr rot="-60000000" vert="horz"/>
          <a:lstStyle/>
          <a:p>
            <a:pPr>
              <a:defRPr>
                <a:solidFill>
                  <a:schemeClr val="bg1"/>
                </a:solidFill>
              </a:defRPr>
            </a:pPr>
            <a:endParaRPr lang="en-CH"/>
          </a:p>
        </c:txPr>
        <c:crossAx val="447400192"/>
        <c:crosses val="autoZero"/>
        <c:auto val="1"/>
        <c:lblAlgn val="ctr"/>
        <c:lblOffset val="100"/>
        <c:noMultiLvlLbl val="0"/>
      </c:catAx>
      <c:valAx>
        <c:axId val="447400192"/>
        <c:scaling>
          <c:orientation val="maxMin"/>
        </c:scaling>
        <c:delete val="1"/>
        <c:axPos val="t"/>
        <c:numFmt formatCode="General" sourceLinked="1"/>
        <c:majorTickMark val="out"/>
        <c:minorTickMark val="none"/>
        <c:tickLblPos val="nextTo"/>
        <c:crossAx val="447391232"/>
        <c:crosses val="autoZero"/>
        <c:crossBetween val="between"/>
      </c:valAx>
      <c:spPr>
        <a:noFill/>
        <a:ln>
          <a:noFill/>
        </a:ln>
        <a:effectLst/>
      </c:spPr>
    </c:plotArea>
    <c:plotVisOnly val="1"/>
    <c:dispBlanksAs val="gap"/>
    <c:showDLblsOverMax val="0"/>
  </c:chart>
  <c:spPr>
    <a:noFill/>
    <a:ln w="19050">
      <a:noFill/>
    </a:ln>
    <a:effectLst/>
  </c:spPr>
  <c:txPr>
    <a:bodyPr/>
    <a:lstStyle/>
    <a:p>
      <a:pPr>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E4FEC7-1946-46A4-BF3A-0CC380E1E04D}" type="datetimeFigureOut">
              <a:rPr lang="en-AE" smtClean="0"/>
              <a:t>25/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A33ED-5EC6-46F3-8BE0-B5A7A4618F93}" type="slidenum">
              <a:rPr lang="en-AE" smtClean="0"/>
              <a:t>‹#›</a:t>
            </a:fld>
            <a:endParaRPr lang="en-AE"/>
          </a:p>
        </p:txBody>
      </p:sp>
    </p:spTree>
    <p:extLst>
      <p:ext uri="{BB962C8B-B14F-4D97-AF65-F5344CB8AC3E}">
        <p14:creationId xmlns:p14="http://schemas.microsoft.com/office/powerpoint/2010/main" val="859764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9.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8.bin"/><Relationship Id="rId7" Type="http://schemas.openxmlformats.org/officeDocument/2006/relationships/image" Target="../media/image29.png"/><Relationship Id="rId2" Type="http://schemas.openxmlformats.org/officeDocument/2006/relationships/slideMaster" Target="../slideMasters/slideMaster2.xml"/><Relationship Id="rId1" Type="http://schemas.openxmlformats.org/officeDocument/2006/relationships/tags" Target="../tags/tag45.xml"/><Relationship Id="rId6" Type="http://schemas.microsoft.com/office/2007/relationships/hdphoto" Target="../media/hdphoto4.wdp"/><Relationship Id="rId5" Type="http://schemas.openxmlformats.org/officeDocument/2006/relationships/image" Target="../media/image30.png"/><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6.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9.bin"/><Relationship Id="rId7" Type="http://schemas.microsoft.com/office/2007/relationships/hdphoto" Target="../media/hdphoto6.wdp"/><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emf"/></Relationships>
</file>

<file path=ppt/slideLayouts/_rels/slideLayout5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oleObject" Target="../embeddings/oleObject29.bin"/><Relationship Id="rId7" Type="http://schemas.openxmlformats.org/officeDocument/2006/relationships/image" Target="../media/image42.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hyperlink" Target="https://pixabay.com/en/coffee-table-cup-break-2725265/" TargetMode="External"/><Relationship Id="rId5" Type="http://schemas.openxmlformats.org/officeDocument/2006/relationships/image" Target="../media/image41.jpeg"/><Relationship Id="rId4" Type="http://schemas.openxmlformats.org/officeDocument/2006/relationships/image" Target="../media/image40.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9.bin"/><Relationship Id="rId7" Type="http://schemas.microsoft.com/office/2007/relationships/hdphoto" Target="../media/hdphoto8.wdp"/><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30.png"/><Relationship Id="rId5" Type="http://schemas.openxmlformats.org/officeDocument/2006/relationships/image" Target="../media/image44.jpeg"/><Relationship Id="rId4" Type="http://schemas.openxmlformats.org/officeDocument/2006/relationships/image" Target="../media/image43.emf"/><Relationship Id="rId9"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0.wdp"/><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emf"/></Relationships>
</file>

<file path=ppt/slideLayouts/_rels/slideLayout55.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image" Target="../media/image50.jpeg"/><Relationship Id="rId7"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3.wdp"/><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5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3.wdp"/><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7" Type="http://schemas.microsoft.com/office/2007/relationships/hdphoto" Target="../media/hdphoto14.wdp"/><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5.wdp"/><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6.wdp"/><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7.wdp"/><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71.png"/><Relationship Id="rId5" Type="http://schemas.openxmlformats.org/officeDocument/2006/relationships/image" Target="../media/image70.jpeg"/><Relationship Id="rId4" Type="http://schemas.openxmlformats.org/officeDocument/2006/relationships/image" Target="../media/image6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8.wdp"/><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19.wdp"/><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0.wdp"/><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image" Target="../media/image7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1.wdp"/><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78.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2.wdp"/><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4.png"/><Relationship Id="rId5" Type="http://schemas.openxmlformats.org/officeDocument/2006/relationships/image" Target="../media/image83.jpeg"/><Relationship Id="rId4" Type="http://schemas.openxmlformats.org/officeDocument/2006/relationships/image" Target="../media/image78.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8.bin"/><Relationship Id="rId7" Type="http://schemas.microsoft.com/office/2007/relationships/hdphoto" Target="../media/hdphoto23.wdp"/><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78.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5.wdp"/><Relationship Id="rId3" Type="http://schemas.openxmlformats.org/officeDocument/2006/relationships/oleObject" Target="../embeddings/oleObject28.bin"/><Relationship Id="rId7" Type="http://schemas.openxmlformats.org/officeDocument/2006/relationships/image" Target="../media/image89.png"/><Relationship Id="rId2" Type="http://schemas.openxmlformats.org/officeDocument/2006/relationships/slideMaster" Target="../slideMasters/slideMaster2.xml"/><Relationship Id="rId1" Type="http://schemas.openxmlformats.org/officeDocument/2006/relationships/tags" Target="../tags/tag66.xml"/><Relationship Id="rId6" Type="http://schemas.microsoft.com/office/2007/relationships/hdphoto" Target="../media/hdphoto24.wdp"/><Relationship Id="rId5" Type="http://schemas.openxmlformats.org/officeDocument/2006/relationships/image" Target="../media/image88.png"/><Relationship Id="rId4" Type="http://schemas.openxmlformats.org/officeDocument/2006/relationships/image" Target="../media/image8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oleObject" Target="../embeddings/oleObject28.bin"/><Relationship Id="rId7" Type="http://schemas.openxmlformats.org/officeDocument/2006/relationships/image" Target="../media/image91.png"/><Relationship Id="rId2" Type="http://schemas.openxmlformats.org/officeDocument/2006/relationships/slideMaster" Target="../slideMasters/slideMaster2.xml"/><Relationship Id="rId1" Type="http://schemas.openxmlformats.org/officeDocument/2006/relationships/tags" Target="../tags/tag68.xml"/><Relationship Id="rId6" Type="http://schemas.microsoft.com/office/2007/relationships/hdphoto" Target="../media/hdphoto5.wdp"/><Relationship Id="rId5" Type="http://schemas.openxmlformats.org/officeDocument/2006/relationships/image" Target="../media/image36.png"/><Relationship Id="rId4" Type="http://schemas.openxmlformats.org/officeDocument/2006/relationships/image" Target="../media/image9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875092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3AB98CB-06B7-4C65-9E02-BEEE6E61DF62}"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8525210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FAB388A-ED08-4D70-9381-EF79C455AE67}"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6922082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65112B76-70A0-4115-8900-889D5A83801C}"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3369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80F50A8-76F6-4FEC-A481-86C5F9A60B95}"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89079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F79B494-81C0-4607-A101-A9F0F2B1A70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1880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65D7BEAC-B30B-4CA2-A6BD-C605B0B9FAD7}"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2755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CF0B625-A800-414A-B28B-3AA862F3720D}"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4412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03A3020-DBBA-4AD9-AE41-AC0096CB7CE1}"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2852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1E1A4D5-9BDD-4A27-BB6C-42806A339EE1}" type="datetime1">
              <a:rPr lang="en-US" smtClean="0"/>
              <a:t>7/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66439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4AD229C-8797-425C-A3C7-306ACA9CFD16}" type="datetime1">
              <a:rPr lang="en-US" smtClean="0"/>
              <a:t>7/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8189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8EB868-A258-42E4-923E-04164F26A5A9}"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740798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2B0EF708-810B-4D26-8670-27DA56CC3A74}" type="datetime1">
              <a:rPr lang="en-US" smtClean="0"/>
              <a:t>7/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62958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323FCDC5-3FFA-457B-BD72-3C960BEDEEF1}" type="datetime1">
              <a:rPr lang="en-US" smtClean="0"/>
              <a:t>7/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48066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CB35B673-B8CA-4034-B5C9-DD64E63364ED}" type="datetime1">
              <a:rPr lang="en-US" smtClean="0"/>
              <a:t>7/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041207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7747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1E58F97-CFCE-4020-BB89-61CBB53122EE}"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4372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o Not U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9" name="Rectangle 8">
            <a:extLst>
              <a:ext uri="{FF2B5EF4-FFF2-40B4-BE49-F238E27FC236}">
                <a16:creationId xmlns:a16="http://schemas.microsoft.com/office/drawing/2014/main" id="{6874D47D-FF40-4551-270D-61337AB0484F}"/>
              </a:ext>
            </a:extLst>
          </p:cNvPr>
          <p:cNvSpPr/>
          <p:nvPr/>
        </p:nvSpPr>
        <p:spPr>
          <a:xfrm>
            <a:off x="-1" y="672615"/>
            <a:ext cx="5955994"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10" name="Picture 9">
            <a:extLst>
              <a:ext uri="{FF2B5EF4-FFF2-40B4-BE49-F238E27FC236}">
                <a16:creationId xmlns:a16="http://schemas.microsoft.com/office/drawing/2014/main" id="{D05B9309-AED6-0180-78B1-87A05603AAB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11" name="Freeform 5">
            <a:extLst>
              <a:ext uri="{FF2B5EF4-FFF2-40B4-BE49-F238E27FC236}">
                <a16:creationId xmlns:a16="http://schemas.microsoft.com/office/drawing/2014/main" id="{3C7B6CB1-5EDB-923B-FA49-C67308606A5B}"/>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12" name="Picture 11">
            <a:extLst>
              <a:ext uri="{FF2B5EF4-FFF2-40B4-BE49-F238E27FC236}">
                <a16:creationId xmlns:a16="http://schemas.microsoft.com/office/drawing/2014/main" id="{E96C820B-6146-5274-87F4-F4ADABAC3BBE}"/>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schemeClr val="tx1">
                <a:alpha val="40000"/>
              </a:schemeClr>
            </a:outerShdw>
          </a:effectLst>
        </p:spPr>
      </p:pic>
      <p:sp>
        <p:nvSpPr>
          <p:cNvPr id="13" name="Freeform 3">
            <a:extLst>
              <a:ext uri="{FF2B5EF4-FFF2-40B4-BE49-F238E27FC236}">
                <a16:creationId xmlns:a16="http://schemas.microsoft.com/office/drawing/2014/main" id="{1A0DDE5D-4777-B08A-2647-12D5477E9833}"/>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Slide Number Placeholder 5">
            <a:extLst>
              <a:ext uri="{FF2B5EF4-FFF2-40B4-BE49-F238E27FC236}">
                <a16:creationId xmlns:a16="http://schemas.microsoft.com/office/drawing/2014/main" id="{79576508-C3AB-24AD-F740-5F6616E4F6FA}"/>
              </a:ext>
            </a:extLst>
          </p:cNvPr>
          <p:cNvSpPr>
            <a:spLocks noGrp="1"/>
          </p:cNvSpPr>
          <p:nvPr>
            <p:ph type="sldNum" sz="quarter" idx="12"/>
          </p:nvPr>
        </p:nvSpPr>
        <p:spPr>
          <a:xfrm>
            <a:off x="8226757" y="4965936"/>
            <a:ext cx="400722" cy="172800"/>
          </a:xfrm>
        </p:spPr>
        <p:txBody>
          <a:bodyPr/>
          <a:lstStyle>
            <a:lvl1pPr>
              <a:defRPr>
                <a:solidFill>
                  <a:schemeClr val="bg1"/>
                </a:solidFill>
              </a:defRPr>
            </a:lvl1pPr>
          </a:lstStyle>
          <a:p>
            <a:fld id="{94EAE7B1-68BD-4D2B-934C-E322FB164993}" type="slidenum">
              <a:rPr lang="en-AE" smtClean="0"/>
              <a:pPr/>
              <a:t>‹#›</a:t>
            </a:fld>
            <a:endParaRPr lang="en-AE"/>
          </a:p>
        </p:txBody>
      </p:sp>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p>
            <a:endParaRPr lang="en-AE"/>
          </a:p>
        </p:txBody>
      </p:sp>
      <p:sp>
        <p:nvSpPr>
          <p:cNvPr id="4" name="Date Placeholder 3">
            <a:extLst>
              <a:ext uri="{FF2B5EF4-FFF2-40B4-BE49-F238E27FC236}">
                <a16:creationId xmlns:a16="http://schemas.microsoft.com/office/drawing/2014/main" id="{2683FD35-8C2A-0BCB-DD09-A9A08621D9DD}"/>
              </a:ext>
            </a:extLst>
          </p:cNvPr>
          <p:cNvSpPr>
            <a:spLocks noGrp="1"/>
          </p:cNvSpPr>
          <p:nvPr>
            <p:ph type="dt" sz="half" idx="10"/>
          </p:nvPr>
        </p:nvSpPr>
        <p:spPr>
          <a:xfrm>
            <a:off x="7767355" y="4458922"/>
            <a:ext cx="860124" cy="278336"/>
          </a:xfrm>
        </p:spPr>
        <p:txBody>
          <a:bodyPr/>
          <a:lstStyle>
            <a:lvl1pPr>
              <a:defRPr sz="800">
                <a:solidFill>
                  <a:schemeClr val="bg1"/>
                </a:solidFill>
              </a:defRPr>
            </a:lvl1pPr>
          </a:lstStyle>
          <a:p>
            <a:r>
              <a:rPr lang="en-US"/>
              <a:t>14/01/2024</a:t>
            </a:r>
            <a:endParaRPr lang="en-AE"/>
          </a:p>
        </p:txBody>
      </p:sp>
      <p:sp>
        <p:nvSpPr>
          <p:cNvPr id="42" name="TextBox 41">
            <a:extLst>
              <a:ext uri="{FF2B5EF4-FFF2-40B4-BE49-F238E27FC236}">
                <a16:creationId xmlns:a16="http://schemas.microsoft.com/office/drawing/2014/main" id="{68580F38-CC0A-FE6C-E89A-46049CBE5BA0}"/>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14" name="Group 13">
            <a:extLst>
              <a:ext uri="{FF2B5EF4-FFF2-40B4-BE49-F238E27FC236}">
                <a16:creationId xmlns:a16="http://schemas.microsoft.com/office/drawing/2014/main" id="{3C9BE3AC-8698-3E97-66CD-4A446BC0646A}"/>
              </a:ext>
            </a:extLst>
          </p:cNvPr>
          <p:cNvGrpSpPr>
            <a:grpSpLocks noChangeAspect="1"/>
          </p:cNvGrpSpPr>
          <p:nvPr/>
        </p:nvGrpSpPr>
        <p:grpSpPr>
          <a:xfrm>
            <a:off x="250461" y="210563"/>
            <a:ext cx="1188566" cy="1011018"/>
            <a:chOff x="2716311" y="648027"/>
            <a:chExt cx="6759377" cy="5739971"/>
          </a:xfrm>
        </p:grpSpPr>
        <p:grpSp>
          <p:nvGrpSpPr>
            <p:cNvPr id="15" name="Graphic 2">
              <a:extLst>
                <a:ext uri="{FF2B5EF4-FFF2-40B4-BE49-F238E27FC236}">
                  <a16:creationId xmlns:a16="http://schemas.microsoft.com/office/drawing/2014/main" id="{8F18DC8C-CB34-1852-CA92-C5D03763ED2C}"/>
                </a:ext>
              </a:extLst>
            </p:cNvPr>
            <p:cNvGrpSpPr/>
            <p:nvPr/>
          </p:nvGrpSpPr>
          <p:grpSpPr>
            <a:xfrm>
              <a:off x="2716311" y="5613022"/>
              <a:ext cx="6269002" cy="774976"/>
              <a:chOff x="2766490" y="5410804"/>
              <a:chExt cx="6269002" cy="774976"/>
            </a:xfrm>
            <a:solidFill>
              <a:schemeClr val="accent1"/>
            </a:solidFill>
          </p:grpSpPr>
          <p:grpSp>
            <p:nvGrpSpPr>
              <p:cNvPr id="30" name="Graphic 2">
                <a:extLst>
                  <a:ext uri="{FF2B5EF4-FFF2-40B4-BE49-F238E27FC236}">
                    <a16:creationId xmlns:a16="http://schemas.microsoft.com/office/drawing/2014/main" id="{0ABD8B8E-CB03-925C-D134-035D815D03C0}"/>
                  </a:ext>
                </a:extLst>
              </p:cNvPr>
              <p:cNvGrpSpPr/>
              <p:nvPr/>
            </p:nvGrpSpPr>
            <p:grpSpPr>
              <a:xfrm>
                <a:off x="2766490" y="5426323"/>
                <a:ext cx="3923857" cy="759457"/>
                <a:chOff x="2766490" y="5426323"/>
                <a:chExt cx="3923857" cy="759457"/>
              </a:xfrm>
              <a:solidFill>
                <a:srgbClr val="FFFFFF"/>
              </a:solidFill>
            </p:grpSpPr>
            <p:sp>
              <p:nvSpPr>
                <p:cNvPr id="35" name="Freeform 83">
                  <a:extLst>
                    <a:ext uri="{FF2B5EF4-FFF2-40B4-BE49-F238E27FC236}">
                      <a16:creationId xmlns:a16="http://schemas.microsoft.com/office/drawing/2014/main" id="{F68DD96B-1DA1-A7CE-690E-C1837D96DD45}"/>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6" name="Freeform 84">
                  <a:extLst>
                    <a:ext uri="{FF2B5EF4-FFF2-40B4-BE49-F238E27FC236}">
                      <a16:creationId xmlns:a16="http://schemas.microsoft.com/office/drawing/2014/main" id="{10F03CED-5877-D5E4-21C2-CA5DB8AEBC7A}"/>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7" name="Freeform 85">
                  <a:extLst>
                    <a:ext uri="{FF2B5EF4-FFF2-40B4-BE49-F238E27FC236}">
                      <a16:creationId xmlns:a16="http://schemas.microsoft.com/office/drawing/2014/main" id="{FB8D96B5-B02C-DC96-FAF7-E127C0F461F8}"/>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8" name="Freeform 86">
                  <a:extLst>
                    <a:ext uri="{FF2B5EF4-FFF2-40B4-BE49-F238E27FC236}">
                      <a16:creationId xmlns:a16="http://schemas.microsoft.com/office/drawing/2014/main" id="{04C49869-5DD2-A808-424B-80A9311C6CC4}"/>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9" name="Freeform 87">
                  <a:extLst>
                    <a:ext uri="{FF2B5EF4-FFF2-40B4-BE49-F238E27FC236}">
                      <a16:creationId xmlns:a16="http://schemas.microsoft.com/office/drawing/2014/main" id="{C106382A-C958-823B-CE68-5A98A52F9510}"/>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0" name="Freeform 88">
                  <a:extLst>
                    <a:ext uri="{FF2B5EF4-FFF2-40B4-BE49-F238E27FC236}">
                      <a16:creationId xmlns:a16="http://schemas.microsoft.com/office/drawing/2014/main" id="{BEE40984-60B1-DBC8-511E-362BA13FD540}"/>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1" name="Freeform 89">
                  <a:extLst>
                    <a:ext uri="{FF2B5EF4-FFF2-40B4-BE49-F238E27FC236}">
                      <a16:creationId xmlns:a16="http://schemas.microsoft.com/office/drawing/2014/main" id="{2BD65524-C210-8EFC-7588-9BF658D7BB35}"/>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31" name="Graphic 2">
                <a:extLst>
                  <a:ext uri="{FF2B5EF4-FFF2-40B4-BE49-F238E27FC236}">
                    <a16:creationId xmlns:a16="http://schemas.microsoft.com/office/drawing/2014/main" id="{C333E2DD-6716-DEEE-2BFE-99DFB84871BA}"/>
                  </a:ext>
                </a:extLst>
              </p:cNvPr>
              <p:cNvGrpSpPr/>
              <p:nvPr/>
            </p:nvGrpSpPr>
            <p:grpSpPr>
              <a:xfrm>
                <a:off x="6870802" y="5410804"/>
                <a:ext cx="2164690" cy="771262"/>
                <a:chOff x="6870802" y="5410804"/>
                <a:chExt cx="2164690" cy="771262"/>
              </a:xfrm>
              <a:solidFill>
                <a:srgbClr val="00A099"/>
              </a:solidFill>
            </p:grpSpPr>
            <p:sp>
              <p:nvSpPr>
                <p:cNvPr id="32" name="Freeform 80">
                  <a:extLst>
                    <a:ext uri="{FF2B5EF4-FFF2-40B4-BE49-F238E27FC236}">
                      <a16:creationId xmlns:a16="http://schemas.microsoft.com/office/drawing/2014/main" id="{9319B22D-C99A-D2F1-498B-4B9C564373E3}"/>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3" name="Freeform 81">
                  <a:extLst>
                    <a:ext uri="{FF2B5EF4-FFF2-40B4-BE49-F238E27FC236}">
                      <a16:creationId xmlns:a16="http://schemas.microsoft.com/office/drawing/2014/main" id="{F8E4FF81-4674-1F29-AF58-33CDDE5DFAF8}"/>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34" name="Freeform 82">
                  <a:extLst>
                    <a:ext uri="{FF2B5EF4-FFF2-40B4-BE49-F238E27FC236}">
                      <a16:creationId xmlns:a16="http://schemas.microsoft.com/office/drawing/2014/main" id="{CFED5D82-DEBA-E23A-418C-2F22CFFDA5C7}"/>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16" name="Graphic 2">
              <a:extLst>
                <a:ext uri="{FF2B5EF4-FFF2-40B4-BE49-F238E27FC236}">
                  <a16:creationId xmlns:a16="http://schemas.microsoft.com/office/drawing/2014/main" id="{19371E7A-A782-A690-6062-3E65185373BA}"/>
                </a:ext>
              </a:extLst>
            </p:cNvPr>
            <p:cNvGrpSpPr/>
            <p:nvPr/>
          </p:nvGrpSpPr>
          <p:grpSpPr>
            <a:xfrm>
              <a:off x="2716311" y="648027"/>
              <a:ext cx="2950814" cy="4756864"/>
              <a:chOff x="4425584" y="267785"/>
              <a:chExt cx="2950814" cy="4756864"/>
            </a:xfrm>
            <a:solidFill>
              <a:schemeClr val="accent1"/>
            </a:solidFill>
          </p:grpSpPr>
          <p:grpSp>
            <p:nvGrpSpPr>
              <p:cNvPr id="20" name="Graphic 2">
                <a:extLst>
                  <a:ext uri="{FF2B5EF4-FFF2-40B4-BE49-F238E27FC236}">
                    <a16:creationId xmlns:a16="http://schemas.microsoft.com/office/drawing/2014/main" id="{AC910508-C21C-3348-F469-04B81474BE27}"/>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D20E1906-556D-B4F9-8589-E54EE3A0CEDC}"/>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97F3DB1C-118D-C7C1-AEDF-E9042CD7517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FEC144EF-E175-4BB7-B63D-DE5D1778217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A644BE9-5F83-8F12-86DC-E1CCD1C7D762}"/>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1D00B076-EBB8-556C-3DFC-71759BD4C335}"/>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2F7ED081-C999-8758-67C9-DAFC71A8E23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7A7B74-5E3E-31B5-21CB-36444F10244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1" name="Freeform 69">
                <a:extLst>
                  <a:ext uri="{FF2B5EF4-FFF2-40B4-BE49-F238E27FC236}">
                    <a16:creationId xmlns:a16="http://schemas.microsoft.com/office/drawing/2014/main" id="{1D585580-D909-3DE5-6253-F807672B018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Freeform 70">
                <a:extLst>
                  <a:ext uri="{FF2B5EF4-FFF2-40B4-BE49-F238E27FC236}">
                    <a16:creationId xmlns:a16="http://schemas.microsoft.com/office/drawing/2014/main" id="{E3E7C6BC-9D2C-45E8-3135-B9B8BF5A139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7" name="Graphic 2">
              <a:extLst>
                <a:ext uri="{FF2B5EF4-FFF2-40B4-BE49-F238E27FC236}">
                  <a16:creationId xmlns:a16="http://schemas.microsoft.com/office/drawing/2014/main" id="{C5D47B62-9857-773D-6817-770CDFB9066E}"/>
                </a:ext>
              </a:extLst>
            </p:cNvPr>
            <p:cNvGrpSpPr/>
            <p:nvPr/>
          </p:nvGrpSpPr>
          <p:grpSpPr>
            <a:xfrm>
              <a:off x="9002626" y="5508867"/>
              <a:ext cx="473062" cy="244679"/>
              <a:chOff x="9052805" y="5306649"/>
              <a:chExt cx="473062" cy="244679"/>
            </a:xfrm>
            <a:solidFill>
              <a:schemeClr val="accent4"/>
            </a:solidFill>
          </p:grpSpPr>
          <p:sp>
            <p:nvSpPr>
              <p:cNvPr id="18" name="Freeform 66">
                <a:extLst>
                  <a:ext uri="{FF2B5EF4-FFF2-40B4-BE49-F238E27FC236}">
                    <a16:creationId xmlns:a16="http://schemas.microsoft.com/office/drawing/2014/main" id="{40E5A50E-3316-61F4-53F7-A2A6DD0471D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67">
                <a:extLst>
                  <a:ext uri="{FF2B5EF4-FFF2-40B4-BE49-F238E27FC236}">
                    <a16:creationId xmlns:a16="http://schemas.microsoft.com/office/drawing/2014/main" id="{1A318567-5E5D-2409-051F-2200CB67401E}"/>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43" name="Straight Connector 42">
            <a:extLst>
              <a:ext uri="{FF2B5EF4-FFF2-40B4-BE49-F238E27FC236}">
                <a16:creationId xmlns:a16="http://schemas.microsoft.com/office/drawing/2014/main" id="{515DAD2E-0239-2629-81B9-6C35ED1D55BB}"/>
              </a:ext>
            </a:extLst>
          </p:cNvPr>
          <p:cNvCxnSpPr>
            <a:cxnSpLocks/>
          </p:cNvCxnSpPr>
          <p:nvPr/>
        </p:nvCxnSpPr>
        <p:spPr>
          <a:xfrm>
            <a:off x="5703569" y="2990850"/>
            <a:ext cx="2939228" cy="0"/>
          </a:xfrm>
          <a:prstGeom prst="line">
            <a:avLst/>
          </a:prstGeom>
          <a:ln w="25400" cap="rnd">
            <a:solidFill>
              <a:srgbClr val="CBEAE7"/>
            </a:solidFill>
            <a:round/>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F85FF42B-03AC-FAA8-76CA-353BF5B90CFA}"/>
              </a:ext>
            </a:extLst>
          </p:cNvPr>
          <p:cNvSpPr>
            <a:spLocks noGrp="1"/>
          </p:cNvSpPr>
          <p:nvPr>
            <p:ph type="subTitle" idx="1"/>
          </p:nvPr>
        </p:nvSpPr>
        <p:spPr>
          <a:xfrm>
            <a:off x="5703569" y="3094356"/>
            <a:ext cx="2947981" cy="1241425"/>
          </a:xfrm>
        </p:spPr>
        <p:txBody>
          <a:bodyPr>
            <a:normAutofit/>
          </a:bodyPr>
          <a:lstStyle>
            <a:lvl1pPr marL="0" indent="0" algn="l">
              <a:buNone/>
              <a:defRPr sz="18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a:t>Click to edit Master subtitle style</a:t>
            </a:r>
            <a:endParaRPr lang="en-AE"/>
          </a:p>
        </p:txBody>
      </p:sp>
      <p:sp>
        <p:nvSpPr>
          <p:cNvPr id="2" name="Title 1">
            <a:extLst>
              <a:ext uri="{FF2B5EF4-FFF2-40B4-BE49-F238E27FC236}">
                <a16:creationId xmlns:a16="http://schemas.microsoft.com/office/drawing/2014/main" id="{8A6E9D5E-1E87-5800-4BA2-D8CE197C69E0}"/>
              </a:ext>
            </a:extLst>
          </p:cNvPr>
          <p:cNvSpPr>
            <a:spLocks noGrp="1"/>
          </p:cNvSpPr>
          <p:nvPr>
            <p:ph type="ctrTitle"/>
          </p:nvPr>
        </p:nvSpPr>
        <p:spPr>
          <a:xfrm>
            <a:off x="5703569" y="1100455"/>
            <a:ext cx="2947981" cy="1790700"/>
          </a:xfrm>
        </p:spPr>
        <p:txBody>
          <a:bodyPr anchor="b">
            <a:normAutofit/>
          </a:bodyPr>
          <a:lstStyle>
            <a:lvl1pPr algn="l">
              <a:defRPr sz="200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636670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o Not Use">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C49DD4C-BEC7-0BC9-89AD-417A87846BDF}"/>
              </a:ext>
            </a:extLst>
          </p:cNvPr>
          <p:cNvGraphicFramePr>
            <a:graphicFrameLocks noChangeAspect="1"/>
          </p:cNvGraphicFramePr>
          <p:nvPr userDrawn="1">
            <p:custDataLst>
              <p:tags r:id="rId1"/>
            </p:custDataLst>
            <p:extLst>
              <p:ext uri="{D42A27DB-BD31-4B8C-83A1-F6EECF244321}">
                <p14:modId xmlns:p14="http://schemas.microsoft.com/office/powerpoint/2010/main" val="4055611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3" name="think-cell data - do not delete" hidden="1">
                        <a:extLst>
                          <a:ext uri="{FF2B5EF4-FFF2-40B4-BE49-F238E27FC236}">
                            <a16:creationId xmlns:a16="http://schemas.microsoft.com/office/drawing/2014/main" id="{AC49DD4C-BEC7-0BC9-89AD-417A87846B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Picture Placeholder 14">
            <a:extLst>
              <a:ext uri="{FF2B5EF4-FFF2-40B4-BE49-F238E27FC236}">
                <a16:creationId xmlns:a16="http://schemas.microsoft.com/office/drawing/2014/main" id="{F43B1177-EE3F-37B2-D435-8F8EEBF4A0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grpSp>
        <p:nvGrpSpPr>
          <p:cNvPr id="9" name="Graphic 2">
            <a:extLst>
              <a:ext uri="{FF2B5EF4-FFF2-40B4-BE49-F238E27FC236}">
                <a16:creationId xmlns:a16="http://schemas.microsoft.com/office/drawing/2014/main" id="{629D7DF9-2FFB-CA9B-D0E1-CD0F4E78F8C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0" name="Graphic 2">
              <a:extLst>
                <a:ext uri="{FF2B5EF4-FFF2-40B4-BE49-F238E27FC236}">
                  <a16:creationId xmlns:a16="http://schemas.microsoft.com/office/drawing/2014/main" id="{63854936-3707-C179-ED0A-C3178706CFDE}"/>
                </a:ext>
              </a:extLst>
            </p:cNvPr>
            <p:cNvGrpSpPr/>
            <p:nvPr/>
          </p:nvGrpSpPr>
          <p:grpSpPr>
            <a:xfrm>
              <a:off x="5720269" y="2764575"/>
              <a:ext cx="1656129" cy="1882392"/>
              <a:chOff x="5720269" y="2764575"/>
              <a:chExt cx="1656129" cy="1882392"/>
            </a:xfrm>
            <a:solidFill>
              <a:schemeClr val="accent1"/>
            </a:solidFill>
          </p:grpSpPr>
          <p:grpSp>
            <p:nvGrpSpPr>
              <p:cNvPr id="13" name="Graphic 2">
                <a:extLst>
                  <a:ext uri="{FF2B5EF4-FFF2-40B4-BE49-F238E27FC236}">
                    <a16:creationId xmlns:a16="http://schemas.microsoft.com/office/drawing/2014/main" id="{A7E7E6A8-212F-B2F6-B689-DE5392E9A65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E8DF4AF7-11ED-705B-8D7C-92BF33AFCFF1}"/>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CEA1F491-23EA-A95A-5186-B16499A0534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FE9A57D5-2AEE-950A-9E9D-C2530527BEB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72">
                <a:extLst>
                  <a:ext uri="{FF2B5EF4-FFF2-40B4-BE49-F238E27FC236}">
                    <a16:creationId xmlns:a16="http://schemas.microsoft.com/office/drawing/2014/main" id="{D4439610-ABFF-850C-DB57-C92AE4670F7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F2E99D1C-7A3E-362C-5368-A22764FD0A2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7B39A8B-4C2E-E73B-2939-F44C5C8945D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69">
              <a:extLst>
                <a:ext uri="{FF2B5EF4-FFF2-40B4-BE49-F238E27FC236}">
                  <a16:creationId xmlns:a16="http://schemas.microsoft.com/office/drawing/2014/main" id="{B01CFC8D-EAAB-072D-666C-B7D3E1B97F1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0">
              <a:extLst>
                <a:ext uri="{FF2B5EF4-FFF2-40B4-BE49-F238E27FC236}">
                  <a16:creationId xmlns:a16="http://schemas.microsoft.com/office/drawing/2014/main" id="{365F49D4-B7AD-09E3-423E-6B7FBB9562D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20" name="Picture 19">
            <a:extLst>
              <a:ext uri="{FF2B5EF4-FFF2-40B4-BE49-F238E27FC236}">
                <a16:creationId xmlns:a16="http://schemas.microsoft.com/office/drawing/2014/main" id="{CC1F151B-8AE3-1C6A-A9DE-541335FA1F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21" name="Freeform 8">
            <a:extLst>
              <a:ext uri="{FF2B5EF4-FFF2-40B4-BE49-F238E27FC236}">
                <a16:creationId xmlns:a16="http://schemas.microsoft.com/office/drawing/2014/main" id="{446F043B-249B-6492-7BBD-7C2766E2E242}"/>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22" name="Straight Connector 21">
            <a:extLst>
              <a:ext uri="{FF2B5EF4-FFF2-40B4-BE49-F238E27FC236}">
                <a16:creationId xmlns:a16="http://schemas.microsoft.com/office/drawing/2014/main" id="{0723795D-9378-7FB7-C711-11F7C20ADEDF}"/>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6D101FA7-7D28-FDAD-48FE-E07FB61C5D2D}"/>
              </a:ext>
            </a:extLst>
          </p:cNvPr>
          <p:cNvSpPr>
            <a:spLocks noGrp="1"/>
          </p:cNvSpPr>
          <p:nvPr>
            <p:ph type="dt" sz="half" idx="10"/>
          </p:nvPr>
        </p:nvSpPr>
        <p:spPr>
          <a:xfrm>
            <a:off x="7632340" y="4972050"/>
            <a:ext cx="609508" cy="171450"/>
          </a:xfrm>
        </p:spPr>
        <p:txBody>
          <a:bodyPr/>
          <a:lstStyle/>
          <a:p>
            <a:r>
              <a:rPr lang="en-US"/>
              <a:t>14/01/2024</a:t>
            </a:r>
            <a:endParaRPr lang="en-AE"/>
          </a:p>
        </p:txBody>
      </p:sp>
      <p:sp>
        <p:nvSpPr>
          <p:cNvPr id="5" name="Footer Placeholder 4">
            <a:extLst>
              <a:ext uri="{FF2B5EF4-FFF2-40B4-BE49-F238E27FC236}">
                <a16:creationId xmlns:a16="http://schemas.microsoft.com/office/drawing/2014/main" id="{AD0C0B73-0DB1-780D-7425-9640441AB632}"/>
              </a:ext>
            </a:extLst>
          </p:cNvPr>
          <p:cNvSpPr>
            <a:spLocks noGrp="1"/>
          </p:cNvSpPr>
          <p:nvPr>
            <p:ph type="ftr" sz="quarter" idx="11"/>
          </p:nvPr>
        </p:nvSpPr>
        <p:spPr>
          <a:xfrm>
            <a:off x="10468" y="4970700"/>
            <a:ext cx="6451742" cy="174151"/>
          </a:xfrm>
        </p:spPr>
        <p:txBody>
          <a:bodyPr/>
          <a:lstStyle/>
          <a:p>
            <a:endParaRPr lang="en-AE"/>
          </a:p>
        </p:txBody>
      </p:sp>
      <p:sp>
        <p:nvSpPr>
          <p:cNvPr id="6" name="Slide Number Placeholder 5">
            <a:extLst>
              <a:ext uri="{FF2B5EF4-FFF2-40B4-BE49-F238E27FC236}">
                <a16:creationId xmlns:a16="http://schemas.microsoft.com/office/drawing/2014/main" id="{24D63120-A813-93F1-01F3-776638B9173A}"/>
              </a:ext>
            </a:extLst>
          </p:cNvPr>
          <p:cNvSpPr>
            <a:spLocks noGrp="1"/>
          </p:cNvSpPr>
          <p:nvPr>
            <p:ph type="sldNum" sz="quarter" idx="12"/>
          </p:nvPr>
        </p:nvSpPr>
        <p:spPr>
          <a:xfrm>
            <a:off x="8246921" y="4972050"/>
            <a:ext cx="400722" cy="172800"/>
          </a:xfrm>
        </p:spPr>
        <p:txBody>
          <a:bodyPr/>
          <a:lstStyle/>
          <a:p>
            <a:fld id="{94EAE7B1-68BD-4D2B-934C-E322FB164993}" type="slidenum">
              <a:rPr lang="en-AE" smtClean="0"/>
              <a:t>‹#›</a:t>
            </a:fld>
            <a:endParaRPr lang="en-AE"/>
          </a:p>
        </p:txBody>
      </p:sp>
      <p:sp>
        <p:nvSpPr>
          <p:cNvPr id="3" name="Text Placeholder 2">
            <a:extLst>
              <a:ext uri="{FF2B5EF4-FFF2-40B4-BE49-F238E27FC236}">
                <a16:creationId xmlns:a16="http://schemas.microsoft.com/office/drawing/2014/main" id="{3CF23CEE-D176-2ACA-AFD6-3460F2D4CC4A}"/>
              </a:ext>
            </a:extLst>
          </p:cNvPr>
          <p:cNvSpPr>
            <a:spLocks noGrp="1"/>
          </p:cNvSpPr>
          <p:nvPr>
            <p:ph type="body" idx="1"/>
          </p:nvPr>
        </p:nvSpPr>
        <p:spPr>
          <a:xfrm>
            <a:off x="6597254" y="3646169"/>
            <a:ext cx="2025253" cy="921069"/>
          </a:xfrm>
        </p:spPr>
        <p:txBody>
          <a:bodyPr>
            <a:normAutofit/>
          </a:bodyPr>
          <a:lstStyle>
            <a:lvl1pPr marL="0" indent="0">
              <a:buNone/>
              <a:defRPr sz="1600">
                <a:solidFill>
                  <a:schemeClr val="accent3"/>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BF9CBF70-D70A-FEF8-91EC-8B6050371200}"/>
              </a:ext>
            </a:extLst>
          </p:cNvPr>
          <p:cNvSpPr>
            <a:spLocks noGrp="1"/>
          </p:cNvSpPr>
          <p:nvPr>
            <p:ph type="title"/>
          </p:nvPr>
        </p:nvSpPr>
        <p:spPr>
          <a:xfrm>
            <a:off x="6597254" y="2122169"/>
            <a:ext cx="2025253" cy="1392380"/>
          </a:xfrm>
        </p:spPr>
        <p:txBody>
          <a:bodyPr vert="horz" anchor="b">
            <a:normAutofit/>
          </a:bodyPr>
          <a:lstStyle>
            <a:lvl1pPr>
              <a:defRPr sz="2000"/>
            </a:lvl1pPr>
          </a:lstStyle>
          <a:p>
            <a:r>
              <a:rPr lang="en-US"/>
              <a:t>Click to edit Master title style</a:t>
            </a:r>
            <a:endParaRPr lang="en-AE"/>
          </a:p>
        </p:txBody>
      </p:sp>
    </p:spTree>
    <p:extLst>
      <p:ext uri="{BB962C8B-B14F-4D97-AF65-F5344CB8AC3E}">
        <p14:creationId xmlns:p14="http://schemas.microsoft.com/office/powerpoint/2010/main" val="1655059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6" name="Rectangle 5">
            <a:extLst>
              <a:ext uri="{FF2B5EF4-FFF2-40B4-BE49-F238E27FC236}">
                <a16:creationId xmlns:a16="http://schemas.microsoft.com/office/drawing/2014/main" id="{C23E11E8-3E35-AAEF-F947-C1F8475AD95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1824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Date Placeholder 4">
            <a:extLst>
              <a:ext uri="{FF2B5EF4-FFF2-40B4-BE49-F238E27FC236}">
                <a16:creationId xmlns:a16="http://schemas.microsoft.com/office/drawing/2014/main" id="{86BD3F46-FE40-E8E1-1A94-2F5EA06F0399}"/>
              </a:ext>
            </a:extLst>
          </p:cNvPr>
          <p:cNvSpPr>
            <a:spLocks noGrp="1"/>
          </p:cNvSpPr>
          <p:nvPr>
            <p:ph type="dt" sz="half" idx="14"/>
          </p:nvPr>
        </p:nvSpPr>
        <p:spPr>
          <a:xfrm>
            <a:off x="7024385" y="4972050"/>
            <a:ext cx="609508" cy="171450"/>
          </a:xfrm>
        </p:spPr>
        <p:txBody>
          <a:bodyPr/>
          <a:lstStyle/>
          <a:p>
            <a:r>
              <a:rPr lang="en-US"/>
              <a:t>14/01/2024</a:t>
            </a:r>
          </a:p>
        </p:txBody>
      </p:sp>
      <p:sp>
        <p:nvSpPr>
          <p:cNvPr id="9" name="Footer Placeholder 8">
            <a:extLst>
              <a:ext uri="{FF2B5EF4-FFF2-40B4-BE49-F238E27FC236}">
                <a16:creationId xmlns:a16="http://schemas.microsoft.com/office/drawing/2014/main" id="{70E0A28E-1EB0-50D3-1E79-8B5E8811D972}"/>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91B4B0F-DC2F-D7E5-8DC4-79399C81417D}"/>
              </a:ext>
            </a:extLst>
          </p:cNvPr>
          <p:cNvSpPr>
            <a:spLocks noGrp="1"/>
          </p:cNvSpPr>
          <p:nvPr>
            <p:ph type="sldNum" sz="quarter" idx="16"/>
          </p:nvPr>
        </p:nvSpPr>
        <p:spPr>
          <a:xfrm>
            <a:off x="7638966" y="4972050"/>
            <a:ext cx="400722" cy="172800"/>
          </a:xfrm>
        </p:spPr>
        <p:txBody>
          <a:bodyPr/>
          <a:lstStyle/>
          <a:p>
            <a:fld id="{7B1F438D-4EAF-094E-9162-80CF3EF77236}" type="slidenum">
              <a:rPr lang="en-US" smtClean="0"/>
              <a:pPr/>
              <a:t>‹#›</a:t>
            </a:fld>
            <a:endParaRPr lang="en-US"/>
          </a:p>
        </p:txBody>
      </p:sp>
      <p:sp>
        <p:nvSpPr>
          <p:cNvPr id="3" name="Rectangle 2">
            <a:extLst>
              <a:ext uri="{FF2B5EF4-FFF2-40B4-BE49-F238E27FC236}">
                <a16:creationId xmlns:a16="http://schemas.microsoft.com/office/drawing/2014/main" id="{6D389ABA-0526-2391-30B6-A64A102ACA47}"/>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6571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31342241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Title 2">
            <a:extLst>
              <a:ext uri="{FF2B5EF4-FFF2-40B4-BE49-F238E27FC236}">
                <a16:creationId xmlns:a16="http://schemas.microsoft.com/office/drawing/2014/main" id="{B1651EB0-1B2C-14E2-AF80-EC037348B6D8}"/>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6411303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DD49198D-D2DB-4074-8A13-E1E3A8E5A2C8}" type="datetime1">
              <a:rPr lang="en-US" smtClean="0"/>
              <a:t>7/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86011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241271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0094811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066748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1488"/>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2BE900DD-787F-F12D-4277-5A85E59EB274}"/>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28828078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37323198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8984500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3975241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4" name="Title 3">
            <a:extLst>
              <a:ext uri="{FF2B5EF4-FFF2-40B4-BE49-F238E27FC236}">
                <a16:creationId xmlns:a16="http://schemas.microsoft.com/office/drawing/2014/main" id="{000572A4-4DF5-BB36-E43B-660A53DAB75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333989017"/>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1648039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106"/>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40000" y="792000"/>
            <a:ext cx="8100000" cy="360000"/>
          </a:xfrm>
          <a:prstGeom prst="rect">
            <a:avLst/>
          </a:prstGeom>
        </p:spPr>
        <p:txBody>
          <a:bodyPr/>
          <a:lstStyle>
            <a:lvl1pPr marL="0" indent="0">
              <a:spcBef>
                <a:spcPts val="0"/>
              </a:spcBef>
              <a:buNone/>
              <a:defRPr sz="1200" b="0" i="0">
                <a:solidFill>
                  <a:schemeClr val="accent3"/>
                </a:solidFill>
                <a:latin typeface="+mj-lt"/>
              </a:defRPr>
            </a:lvl1pPr>
          </a:lstStyle>
          <a:p>
            <a:pPr lvl="0"/>
            <a:r>
              <a:rPr lang="nl-NL"/>
              <a:t>Subtitle | Chart Title</a:t>
            </a:r>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4425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5328642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2338"/>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41807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074964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40000" y="1170000"/>
            <a:ext cx="8100000" cy="3564000"/>
          </a:xfrm>
          <a:prstGeom prst="rect">
            <a:avLst/>
          </a:prstGeom>
        </p:spPr>
        <p:txBody>
          <a:bodyPr/>
          <a:lstStyle>
            <a:lvl1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3738559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3881662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66F0BCB3-A29A-3BA0-DE6E-5CB8402A35EF}"/>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725518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715085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36529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23074124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664266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60AA34-8ED1-465F-95C6-78626713C4BB}"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06833378"/>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3518823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44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40000" y="792000"/>
            <a:ext cx="3996000" cy="360000"/>
          </a:xfrm>
          <a:prstGeom prst="rect">
            <a:avLst/>
          </a:prstGeom>
        </p:spPr>
        <p:txBody>
          <a:bodyPr anchor="t"/>
          <a:lstStyle>
            <a:lvl1pPr marL="0" indent="0">
              <a:spcBef>
                <a:spcPts val="0"/>
              </a:spcBef>
              <a:buNone/>
              <a:defRPr sz="1200" b="0" i="0">
                <a:solidFill>
                  <a:srgbClr val="009999"/>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24E3F0CE-DD8E-4EC3-5C51-97C93E3C1EB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191523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2290177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46901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4045014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43999"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40000" y="1170000"/>
            <a:ext cx="3996000" cy="3564000"/>
          </a:xfrm>
          <a:prstGeom prst="rect">
            <a:avLst/>
          </a:prstGeom>
        </p:spPr>
        <p:txBody>
          <a:bodyPr/>
          <a:lstStyle>
            <a:lvl1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577593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Rectangle 3">
            <a:extLst>
              <a:ext uri="{FF2B5EF4-FFF2-40B4-BE49-F238E27FC236}">
                <a16:creationId xmlns:a16="http://schemas.microsoft.com/office/drawing/2014/main" id="{5B500120-DEA7-2D41-C308-0727387FE75E}"/>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37ABD646-1E0B-3FBE-22E5-80CC40B4CFA0}"/>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1634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874B915C-2BD4-24F2-64EC-C6844A8180FD}"/>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a:lvl1pPr>
            <a:lvl2pPr>
              <a:defRPr sz="1000"/>
            </a:lvl2pPr>
            <a:lvl3pPr>
              <a:defRPr sz="900"/>
            </a:lvl3pPr>
            <a:lvl4pPr>
              <a:defRPr sz="800"/>
            </a:lvl4pPr>
            <a:lvl5pPr>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5122474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p:txBody>
          <a:body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8" name="Rectangle 7">
            <a:extLst>
              <a:ext uri="{FF2B5EF4-FFF2-40B4-BE49-F238E27FC236}">
                <a16:creationId xmlns:a16="http://schemas.microsoft.com/office/drawing/2014/main" id="{3EC7A3A5-41C2-4360-F048-23818B219F71}"/>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8295967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074640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90452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p:txBody>
          <a:body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p>
            <a:fld id="{94EAE7B1-68BD-4D2B-934C-E322FB164993}" type="slidenum">
              <a:rPr lang="en-AE" smtClean="0"/>
              <a:t>‹#›</a:t>
            </a:fld>
            <a:endParaRPr lang="en-AE"/>
          </a:p>
        </p:txBody>
      </p:sp>
      <p:sp>
        <p:nvSpPr>
          <p:cNvPr id="7" name="Rectangle 6">
            <a:extLst>
              <a:ext uri="{FF2B5EF4-FFF2-40B4-BE49-F238E27FC236}">
                <a16:creationId xmlns:a16="http://schemas.microsoft.com/office/drawing/2014/main" id="{B87DA450-A697-524F-0871-5E0366A37E4B}"/>
              </a:ext>
            </a:extLst>
          </p:cNvPr>
          <p:cNvSpPr/>
          <p:nvPr/>
        </p:nvSpPr>
        <p:spPr>
          <a:xfrm>
            <a:off x="521495" y="753627"/>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682636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9A1619F-DB93-48B7-1FAD-2291BB7DB9B8}"/>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think-cell data - do not delete" hidden="1">
            <a:extLst>
              <a:ext uri="{FF2B5EF4-FFF2-40B4-BE49-F238E27FC236}">
                <a16:creationId xmlns:a16="http://schemas.microsoft.com/office/drawing/2014/main" id="{D9BAD769-40C0-FE34-B5C5-38375D7E11EE}"/>
              </a:ext>
            </a:extLst>
          </p:cNvPr>
          <p:cNvGraphicFramePr>
            <a:graphicFrameLocks noChangeAspect="1"/>
          </p:cNvGraphicFramePr>
          <p:nvPr>
            <p:custDataLst>
              <p:tags r:id="rId1"/>
            </p:custDataLst>
            <p:extLst>
              <p:ext uri="{D42A27DB-BD31-4B8C-83A1-F6EECF244321}">
                <p14:modId xmlns:p14="http://schemas.microsoft.com/office/powerpoint/2010/main" val="36167813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think-cell data - do not delete" hidden="1">
                        <a:extLst>
                          <a:ext uri="{FF2B5EF4-FFF2-40B4-BE49-F238E27FC236}">
                            <a16:creationId xmlns:a16="http://schemas.microsoft.com/office/drawing/2014/main" id="{D9BAD769-40C0-FE34-B5C5-38375D7E11E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6722100-8CAE-E97B-B308-61A1A7041CF5}"/>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4" name="Freeform 3">
            <a:extLst>
              <a:ext uri="{FF2B5EF4-FFF2-40B4-BE49-F238E27FC236}">
                <a16:creationId xmlns:a16="http://schemas.microsoft.com/office/drawing/2014/main" id="{83DCC929-4FEB-3B38-06E1-E3D49DC8AFB4}"/>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6D94320F-F81C-BDE2-973C-917BEC53150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6" name="Freeform 5">
            <a:extLst>
              <a:ext uri="{FF2B5EF4-FFF2-40B4-BE49-F238E27FC236}">
                <a16:creationId xmlns:a16="http://schemas.microsoft.com/office/drawing/2014/main" id="{0788466C-26E7-8520-BF63-2D2A302D8236}"/>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F271CF6B-1425-57AD-B28D-FB20D16CD64C}"/>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7" name="Group 6">
            <a:extLst>
              <a:ext uri="{FF2B5EF4-FFF2-40B4-BE49-F238E27FC236}">
                <a16:creationId xmlns:a16="http://schemas.microsoft.com/office/drawing/2014/main" id="{87CB412D-5EC5-9211-8366-91E46B9AC972}"/>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6662BBD5-F492-4C22-0B67-B55642E4DA2A}"/>
                </a:ext>
              </a:extLst>
            </p:cNvPr>
            <p:cNvGrpSpPr/>
            <p:nvPr/>
          </p:nvGrpSpPr>
          <p:grpSpPr>
            <a:xfrm>
              <a:off x="2716311" y="5613022"/>
              <a:ext cx="6269002" cy="774976"/>
              <a:chOff x="2766490" y="5410804"/>
              <a:chExt cx="6269002" cy="774976"/>
            </a:xfrm>
            <a:solidFill>
              <a:schemeClr val="accent1"/>
            </a:solidFill>
          </p:grpSpPr>
          <p:grpSp>
            <p:nvGrpSpPr>
              <p:cNvPr id="57" name="Graphic 2">
                <a:extLst>
                  <a:ext uri="{FF2B5EF4-FFF2-40B4-BE49-F238E27FC236}">
                    <a16:creationId xmlns:a16="http://schemas.microsoft.com/office/drawing/2014/main" id="{CD42DCB9-2FF2-C97C-8693-DE5C6B017E04}"/>
                  </a:ext>
                </a:extLst>
              </p:cNvPr>
              <p:cNvGrpSpPr/>
              <p:nvPr/>
            </p:nvGrpSpPr>
            <p:grpSpPr>
              <a:xfrm>
                <a:off x="2766490" y="5426323"/>
                <a:ext cx="3923857" cy="759457"/>
                <a:chOff x="2766490" y="5426323"/>
                <a:chExt cx="3923857" cy="759457"/>
              </a:xfrm>
              <a:solidFill>
                <a:srgbClr val="FFFFFF"/>
              </a:solidFill>
            </p:grpSpPr>
            <p:sp>
              <p:nvSpPr>
                <p:cNvPr id="62" name="Freeform 83">
                  <a:extLst>
                    <a:ext uri="{FF2B5EF4-FFF2-40B4-BE49-F238E27FC236}">
                      <a16:creationId xmlns:a16="http://schemas.microsoft.com/office/drawing/2014/main" id="{098C45A0-DB7D-8377-902A-9F2672B41C02}"/>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4">
                  <a:extLst>
                    <a:ext uri="{FF2B5EF4-FFF2-40B4-BE49-F238E27FC236}">
                      <a16:creationId xmlns:a16="http://schemas.microsoft.com/office/drawing/2014/main" id="{95BD3218-5044-95E6-AB2B-4178B1877736}"/>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5">
                  <a:extLst>
                    <a:ext uri="{FF2B5EF4-FFF2-40B4-BE49-F238E27FC236}">
                      <a16:creationId xmlns:a16="http://schemas.microsoft.com/office/drawing/2014/main" id="{F46FE32A-4DFC-F4D6-F372-053F948A5814}"/>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6">
                  <a:extLst>
                    <a:ext uri="{FF2B5EF4-FFF2-40B4-BE49-F238E27FC236}">
                      <a16:creationId xmlns:a16="http://schemas.microsoft.com/office/drawing/2014/main" id="{C9A4E959-983D-2D0E-50BB-11956BE6D0F7}"/>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7" name="Freeform 87">
                  <a:extLst>
                    <a:ext uri="{FF2B5EF4-FFF2-40B4-BE49-F238E27FC236}">
                      <a16:creationId xmlns:a16="http://schemas.microsoft.com/office/drawing/2014/main" id="{575EE56F-2C3A-B3F8-721C-39BBB728B3D4}"/>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8" name="Freeform 88">
                  <a:extLst>
                    <a:ext uri="{FF2B5EF4-FFF2-40B4-BE49-F238E27FC236}">
                      <a16:creationId xmlns:a16="http://schemas.microsoft.com/office/drawing/2014/main" id="{CA76DB0E-96C8-A173-9103-376B0B33D753}"/>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9" name="Freeform 89">
                  <a:extLst>
                    <a:ext uri="{FF2B5EF4-FFF2-40B4-BE49-F238E27FC236}">
                      <a16:creationId xmlns:a16="http://schemas.microsoft.com/office/drawing/2014/main" id="{819901E0-017D-C922-0F6A-54CEF0DDAFA2}"/>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8" name="Graphic 2">
                <a:extLst>
                  <a:ext uri="{FF2B5EF4-FFF2-40B4-BE49-F238E27FC236}">
                    <a16:creationId xmlns:a16="http://schemas.microsoft.com/office/drawing/2014/main" id="{2E4296B1-AC57-D498-8F39-EC75483EA371}"/>
                  </a:ext>
                </a:extLst>
              </p:cNvPr>
              <p:cNvGrpSpPr/>
              <p:nvPr/>
            </p:nvGrpSpPr>
            <p:grpSpPr>
              <a:xfrm>
                <a:off x="6870802" y="5410804"/>
                <a:ext cx="2164690" cy="771262"/>
                <a:chOff x="6870802" y="5410804"/>
                <a:chExt cx="2164690" cy="771262"/>
              </a:xfrm>
              <a:solidFill>
                <a:srgbClr val="00A099"/>
              </a:solidFill>
            </p:grpSpPr>
            <p:sp>
              <p:nvSpPr>
                <p:cNvPr id="59" name="Freeform 80">
                  <a:extLst>
                    <a:ext uri="{FF2B5EF4-FFF2-40B4-BE49-F238E27FC236}">
                      <a16:creationId xmlns:a16="http://schemas.microsoft.com/office/drawing/2014/main" id="{A9D03C93-2A1A-B1A3-C4A3-55BAE0558E36}"/>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1">
                  <a:extLst>
                    <a:ext uri="{FF2B5EF4-FFF2-40B4-BE49-F238E27FC236}">
                      <a16:creationId xmlns:a16="http://schemas.microsoft.com/office/drawing/2014/main" id="{47D82C5E-6BEE-B699-B446-230D29046116}"/>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2">
                  <a:extLst>
                    <a:ext uri="{FF2B5EF4-FFF2-40B4-BE49-F238E27FC236}">
                      <a16:creationId xmlns:a16="http://schemas.microsoft.com/office/drawing/2014/main" id="{B8C008A3-5B3B-95D8-17BE-1DE8F9777BBA}"/>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AC1E6581-9202-548E-3A46-2E00B0E43CE0}"/>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B3C34F64-B814-586E-09E7-735289381ED9}"/>
                  </a:ext>
                </a:extLst>
              </p:cNvPr>
              <p:cNvGrpSpPr/>
              <p:nvPr/>
            </p:nvGrpSpPr>
            <p:grpSpPr>
              <a:xfrm>
                <a:off x="5720269" y="2764575"/>
                <a:ext cx="1656129" cy="1882392"/>
                <a:chOff x="5720269" y="2764575"/>
                <a:chExt cx="1656129" cy="1882392"/>
              </a:xfrm>
              <a:solidFill>
                <a:schemeClr val="accent1"/>
              </a:solidFill>
            </p:grpSpPr>
            <p:grpSp>
              <p:nvGrpSpPr>
                <p:cNvPr id="49" name="Graphic 2">
                  <a:extLst>
                    <a:ext uri="{FF2B5EF4-FFF2-40B4-BE49-F238E27FC236}">
                      <a16:creationId xmlns:a16="http://schemas.microsoft.com/office/drawing/2014/main" id="{FEC1D4B0-8210-A283-56E3-9B98A679E56F}"/>
                    </a:ext>
                  </a:extLst>
                </p:cNvPr>
                <p:cNvGrpSpPr/>
                <p:nvPr/>
              </p:nvGrpSpPr>
              <p:grpSpPr>
                <a:xfrm>
                  <a:off x="5720269" y="2764575"/>
                  <a:ext cx="1656129" cy="1882392"/>
                  <a:chOff x="5720269" y="2764575"/>
                  <a:chExt cx="1656129" cy="1882392"/>
                </a:xfrm>
                <a:solidFill>
                  <a:srgbClr val="00A099"/>
                </a:solidFill>
              </p:grpSpPr>
              <p:sp>
                <p:nvSpPr>
                  <p:cNvPr id="53" name="Freeform 75">
                    <a:extLst>
                      <a:ext uri="{FF2B5EF4-FFF2-40B4-BE49-F238E27FC236}">
                        <a16:creationId xmlns:a16="http://schemas.microsoft.com/office/drawing/2014/main" id="{9E749119-8665-1500-E66B-6B2DDDA1E27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4" name="Freeform 76">
                    <a:extLst>
                      <a:ext uri="{FF2B5EF4-FFF2-40B4-BE49-F238E27FC236}">
                        <a16:creationId xmlns:a16="http://schemas.microsoft.com/office/drawing/2014/main" id="{539838BC-5FD5-22C3-7D06-16DA65B26FD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5" name="Freeform 77">
                    <a:extLst>
                      <a:ext uri="{FF2B5EF4-FFF2-40B4-BE49-F238E27FC236}">
                        <a16:creationId xmlns:a16="http://schemas.microsoft.com/office/drawing/2014/main" id="{2FB5CBB3-4DDA-3E0D-D21F-CDCA418251A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0" name="Freeform 72">
                  <a:extLst>
                    <a:ext uri="{FF2B5EF4-FFF2-40B4-BE49-F238E27FC236}">
                      <a16:creationId xmlns:a16="http://schemas.microsoft.com/office/drawing/2014/main" id="{CA63F685-9852-7E11-D539-3CDE0B67CD9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3">
                  <a:extLst>
                    <a:ext uri="{FF2B5EF4-FFF2-40B4-BE49-F238E27FC236}">
                      <a16:creationId xmlns:a16="http://schemas.microsoft.com/office/drawing/2014/main" id="{B14B1232-4700-6BB7-D2F4-2EB5B2B4FF89}"/>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4">
                  <a:extLst>
                    <a:ext uri="{FF2B5EF4-FFF2-40B4-BE49-F238E27FC236}">
                      <a16:creationId xmlns:a16="http://schemas.microsoft.com/office/drawing/2014/main" id="{D0D1CCA1-F291-D360-CBF5-4AA2D253535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69">
                <a:extLst>
                  <a:ext uri="{FF2B5EF4-FFF2-40B4-BE49-F238E27FC236}">
                    <a16:creationId xmlns:a16="http://schemas.microsoft.com/office/drawing/2014/main" id="{18DAB975-CEA7-95E3-D5D3-714D97E4AE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0">
                <a:extLst>
                  <a:ext uri="{FF2B5EF4-FFF2-40B4-BE49-F238E27FC236}">
                    <a16:creationId xmlns:a16="http://schemas.microsoft.com/office/drawing/2014/main" id="{7536147C-99EC-769D-3BA6-256E3D395B2C}"/>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C4983454-3055-6F80-9BE0-0D357D2F69C2}"/>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3CCCE990-B202-A185-43DF-2576F0FA4C0A}"/>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14F4C2B6-DA2F-342D-B104-A98312D394EB}"/>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cxnSp>
        <p:nvCxnSpPr>
          <p:cNvPr id="14" name="Straight Connector 13">
            <a:extLst>
              <a:ext uri="{FF2B5EF4-FFF2-40B4-BE49-F238E27FC236}">
                <a16:creationId xmlns:a16="http://schemas.microsoft.com/office/drawing/2014/main" id="{DB7E9558-4D47-3767-4686-EB7258B7F7D8}"/>
              </a:ext>
            </a:extLst>
          </p:cNvPr>
          <p:cNvCxnSpPr>
            <a:cxnSpLocks/>
          </p:cNvCxnSpPr>
          <p:nvPr/>
        </p:nvCxnSpPr>
        <p:spPr>
          <a:xfrm>
            <a:off x="1683349" y="2990851"/>
            <a:ext cx="2902873"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46" name="Text Placeholder 44">
            <a:extLst>
              <a:ext uri="{FF2B5EF4-FFF2-40B4-BE49-F238E27FC236}">
                <a16:creationId xmlns:a16="http://schemas.microsoft.com/office/drawing/2014/main" id="{F5A63814-E592-0442-BECD-60BEA74EA64D}"/>
              </a:ext>
            </a:extLst>
          </p:cNvPr>
          <p:cNvSpPr>
            <a:spLocks noGrp="1"/>
          </p:cNvSpPr>
          <p:nvPr>
            <p:ph type="body" sz="quarter" idx="11"/>
          </p:nvPr>
        </p:nvSpPr>
        <p:spPr>
          <a:xfrm>
            <a:off x="1311461" y="4224132"/>
            <a:ext cx="3257550" cy="507413"/>
          </a:xfrm>
          <a:prstGeom prst="rect">
            <a:avLst/>
          </a:prstGeom>
        </p:spPr>
        <p:txBody>
          <a:bodyPr anchor="b"/>
          <a:lstStyle>
            <a:lvl1pPr marL="0" indent="0" algn="r">
              <a:buNone/>
              <a:defRPr sz="1200">
                <a:solidFill>
                  <a:schemeClr val="tx1"/>
                </a:solidFill>
              </a:defRPr>
            </a:lvl1pPr>
            <a:lvl2pPr algn="r">
              <a:defRPr sz="1050">
                <a:solidFill>
                  <a:schemeClr val="bg1"/>
                </a:solidFill>
              </a:defRPr>
            </a:lvl2pPr>
            <a:lvl3pPr algn="r">
              <a:defRPr sz="900">
                <a:solidFill>
                  <a:schemeClr val="bg1"/>
                </a:solidFill>
              </a:defRPr>
            </a:lvl3pPr>
            <a:lvl4pPr algn="r">
              <a:defRPr sz="825">
                <a:solidFill>
                  <a:schemeClr val="bg1"/>
                </a:solidFill>
              </a:defRPr>
            </a:lvl4pPr>
            <a:lvl5pPr algn="r">
              <a:defRPr sz="825">
                <a:solidFill>
                  <a:schemeClr val="bg1"/>
                </a:solidFill>
              </a:defRPr>
            </a:lvl5pPr>
          </a:lstStyle>
          <a:p>
            <a:pPr lvl="0"/>
            <a:r>
              <a:rPr lang="en-US"/>
              <a:t>Click to edit Master text styles</a:t>
            </a:r>
          </a:p>
        </p:txBody>
      </p:sp>
      <p:sp>
        <p:nvSpPr>
          <p:cNvPr id="45" name="Text Placeholder 44">
            <a:extLst>
              <a:ext uri="{FF2B5EF4-FFF2-40B4-BE49-F238E27FC236}">
                <a16:creationId xmlns:a16="http://schemas.microsoft.com/office/drawing/2014/main" id="{8D0392F9-FB9B-2459-6D5C-3381EF959846}"/>
              </a:ext>
            </a:extLst>
          </p:cNvPr>
          <p:cNvSpPr>
            <a:spLocks noGrp="1"/>
          </p:cNvSpPr>
          <p:nvPr>
            <p:ph type="body" sz="quarter" idx="10"/>
          </p:nvPr>
        </p:nvSpPr>
        <p:spPr>
          <a:xfrm>
            <a:off x="1314450" y="3098008"/>
            <a:ext cx="3257550" cy="777479"/>
          </a:xfrm>
          <a:prstGeom prst="rect">
            <a:avLst/>
          </a:prstGeom>
        </p:spPr>
        <p:txBody>
          <a:bodyPr/>
          <a:lstStyle>
            <a:lvl1pPr marL="0" indent="0" algn="r">
              <a:buNone/>
              <a:defRPr>
                <a:solidFill>
                  <a:schemeClr val="accent3"/>
                </a:solidFill>
              </a:defRPr>
            </a:lvl1pPr>
            <a:lvl2pPr marL="342892" indent="0" algn="r">
              <a:buNone/>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a:t>Click to edit Master text styles</a:t>
            </a:r>
          </a:p>
        </p:txBody>
      </p:sp>
      <p:sp>
        <p:nvSpPr>
          <p:cNvPr id="2" name="Title 1">
            <a:extLst>
              <a:ext uri="{FF2B5EF4-FFF2-40B4-BE49-F238E27FC236}">
                <a16:creationId xmlns:a16="http://schemas.microsoft.com/office/drawing/2014/main" id="{5184292B-F56D-B8BD-D4C7-AA10DE993E8F}"/>
              </a:ext>
            </a:extLst>
          </p:cNvPr>
          <p:cNvSpPr>
            <a:spLocks noGrp="1"/>
          </p:cNvSpPr>
          <p:nvPr>
            <p:ph type="title"/>
          </p:nvPr>
        </p:nvSpPr>
        <p:spPr>
          <a:xfrm>
            <a:off x="1922014" y="1588336"/>
            <a:ext cx="2646997" cy="1287066"/>
          </a:xfrm>
          <a:prstGeom prst="rect">
            <a:avLst/>
          </a:prstGeom>
        </p:spPr>
        <p:txBody>
          <a:bodyPr vert="horz" anchor="b"/>
          <a:lstStyle>
            <a:lvl1pPr algn="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336248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perator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B0A7C1D-2DA4-4797-ABE4-CFE498A90DFE}"/>
              </a:ext>
            </a:extLst>
          </p:cNvPr>
          <p:cNvGraphicFramePr>
            <a:graphicFrameLocks noChangeAspect="1"/>
          </p:cNvGraphicFramePr>
          <p:nvPr>
            <p:custDataLst>
              <p:tags r:id="rId1"/>
            </p:custDataLst>
            <p:extLst>
              <p:ext uri="{D42A27DB-BD31-4B8C-83A1-F6EECF244321}">
                <p14:modId xmlns:p14="http://schemas.microsoft.com/office/powerpoint/2010/main" val="276638026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B0A7C1D-2DA4-4797-ABE4-CFE498A90DFE}"/>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F13F458-F455-6AF3-385E-83D174A2BDFD}"/>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F14168CB-5AC7-29DA-0147-7803D6F82ECF}"/>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6" name="Freeform 5">
            <a:extLst>
              <a:ext uri="{FF2B5EF4-FFF2-40B4-BE49-F238E27FC236}">
                <a16:creationId xmlns:a16="http://schemas.microsoft.com/office/drawing/2014/main" id="{19BE8E17-09BA-D515-CD46-7946938584FF}"/>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7" name="Graphic 2">
            <a:extLst>
              <a:ext uri="{FF2B5EF4-FFF2-40B4-BE49-F238E27FC236}">
                <a16:creationId xmlns:a16="http://schemas.microsoft.com/office/drawing/2014/main" id="{784BE723-070E-A274-AA6F-B440F558076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8" name="Graphic 2">
              <a:extLst>
                <a:ext uri="{FF2B5EF4-FFF2-40B4-BE49-F238E27FC236}">
                  <a16:creationId xmlns:a16="http://schemas.microsoft.com/office/drawing/2014/main" id="{C43329F1-6902-CECE-46BF-B0CB0D4264FB}"/>
                </a:ext>
              </a:extLst>
            </p:cNvPr>
            <p:cNvGrpSpPr/>
            <p:nvPr/>
          </p:nvGrpSpPr>
          <p:grpSpPr>
            <a:xfrm>
              <a:off x="5720269" y="2764575"/>
              <a:ext cx="1656129" cy="1882392"/>
              <a:chOff x="5720269" y="2764575"/>
              <a:chExt cx="1656129" cy="1882392"/>
            </a:xfrm>
            <a:solidFill>
              <a:schemeClr val="accent1"/>
            </a:solidFill>
          </p:grpSpPr>
          <p:grpSp>
            <p:nvGrpSpPr>
              <p:cNvPr id="11" name="Graphic 2">
                <a:extLst>
                  <a:ext uri="{FF2B5EF4-FFF2-40B4-BE49-F238E27FC236}">
                    <a16:creationId xmlns:a16="http://schemas.microsoft.com/office/drawing/2014/main" id="{8D6240C3-7E1B-2DD6-99C6-6ABF81667E09}"/>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3944EB51-0C93-C620-8063-E61F0F300F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5697203F-AD89-6D4B-6AFE-ADB78D73907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C781CD1B-FC1C-7ED5-0A4D-7348694FF3E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6E12481A-73D6-AAB3-5728-AA939977EAE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3">
                <a:extLst>
                  <a:ext uri="{FF2B5EF4-FFF2-40B4-BE49-F238E27FC236}">
                    <a16:creationId xmlns:a16="http://schemas.microsoft.com/office/drawing/2014/main" id="{E9823D54-2EAB-880A-0B17-97B466DC2401}"/>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4" name="Freeform 74">
                <a:extLst>
                  <a:ext uri="{FF2B5EF4-FFF2-40B4-BE49-F238E27FC236}">
                    <a16:creationId xmlns:a16="http://schemas.microsoft.com/office/drawing/2014/main" id="{471B8E08-25FE-D4D0-1084-9DAED7CBBAD6}"/>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BF92EB4E-F633-02E7-FD6D-7F5E2AC849D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0" name="Freeform 70">
              <a:extLst>
                <a:ext uri="{FF2B5EF4-FFF2-40B4-BE49-F238E27FC236}">
                  <a16:creationId xmlns:a16="http://schemas.microsoft.com/office/drawing/2014/main" id="{9113308F-C702-C2B6-2EAE-B39DC3CD127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 name="Title 1">
            <a:extLst>
              <a:ext uri="{FF2B5EF4-FFF2-40B4-BE49-F238E27FC236}">
                <a16:creationId xmlns:a16="http://schemas.microsoft.com/office/drawing/2014/main" id="{965C2C78-3441-50E1-9A6D-A6F258B1F3E6}"/>
              </a:ext>
            </a:extLst>
          </p:cNvPr>
          <p:cNvSpPr>
            <a:spLocks noGrp="1"/>
          </p:cNvSpPr>
          <p:nvPr>
            <p:ph type="title"/>
          </p:nvPr>
        </p:nvSpPr>
        <p:spPr>
          <a:xfrm>
            <a:off x="1878839" y="1982392"/>
            <a:ext cx="5411371" cy="994172"/>
          </a:xfrm>
          <a:prstGeom prst="rect">
            <a:avLst/>
          </a:prstGeom>
        </p:spPr>
        <p:txBody>
          <a:bodyPr vert="horz" anchor="ctr">
            <a:normAutofit/>
          </a:bodyPr>
          <a:lstStyle>
            <a:lvl1pPr algn="ctr">
              <a:defRPr sz="1800"/>
            </a:lvl1pPr>
          </a:lstStyle>
          <a:p>
            <a:r>
              <a:rPr lang="en-US"/>
              <a:t>Click to edit Master title style</a:t>
            </a:r>
          </a:p>
        </p:txBody>
      </p:sp>
    </p:spTree>
    <p:extLst>
      <p:ext uri="{BB962C8B-B14F-4D97-AF65-F5344CB8AC3E}">
        <p14:creationId xmlns:p14="http://schemas.microsoft.com/office/powerpoint/2010/main" val="64602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EDF8E5C-D276-44C9-B3CA-63F45D29E704}"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87927967"/>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CAE90-6B78-674F-0597-50DF0BF795F2}"/>
              </a:ext>
            </a:extLst>
          </p:cNvPr>
          <p:cNvGraphicFramePr>
            <a:graphicFrameLocks noChangeAspect="1"/>
          </p:cNvGraphicFramePr>
          <p:nvPr>
            <p:custDataLst>
              <p:tags r:id="rId1"/>
            </p:custDataLst>
            <p:extLst>
              <p:ext uri="{D42A27DB-BD31-4B8C-83A1-F6EECF244321}">
                <p14:modId xmlns:p14="http://schemas.microsoft.com/office/powerpoint/2010/main" val="291483801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C81CAE90-6B78-674F-0597-50DF0BF795F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People eating salads at bountiful table">
            <a:extLst>
              <a:ext uri="{FF2B5EF4-FFF2-40B4-BE49-F238E27FC236}">
                <a16:creationId xmlns:a16="http://schemas.microsoft.com/office/drawing/2014/main" id="{96F4ED9F-A6CD-2075-E5C6-BD9EEA8E34E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4001" cy="5143501"/>
          </a:xfrm>
          <a:prstGeom prst="rect">
            <a:avLst/>
          </a:prstGeom>
        </p:spPr>
      </p:pic>
      <p:pic>
        <p:nvPicPr>
          <p:cNvPr id="8" name="Picture 7" descr="People eating salads at bountiful table">
            <a:extLst>
              <a:ext uri="{FF2B5EF4-FFF2-40B4-BE49-F238E27FC236}">
                <a16:creationId xmlns:a16="http://schemas.microsoft.com/office/drawing/2014/main" id="{124C0130-C8AD-159E-0AF8-FFA52C869E5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1" y="-3764"/>
            <a:ext cx="2003631" cy="5143500"/>
          </a:xfrm>
          <a:custGeom>
            <a:avLst/>
            <a:gdLst>
              <a:gd name="connsiteX0" fmla="*/ 2671508 w 2671508"/>
              <a:gd name="connsiteY0" fmla="*/ 0 h 6858000"/>
              <a:gd name="connsiteX1" fmla="*/ 2427625 w 2671508"/>
              <a:gd name="connsiteY1" fmla="*/ 1023774 h 6858000"/>
              <a:gd name="connsiteX2" fmla="*/ 2427624 w 2671508"/>
              <a:gd name="connsiteY2" fmla="*/ 1023773 h 6858000"/>
              <a:gd name="connsiteX3" fmla="*/ 1037791 w 2671508"/>
              <a:gd name="connsiteY3" fmla="*/ 6858000 h 6858000"/>
              <a:gd name="connsiteX4" fmla="*/ 0 w 2671508"/>
              <a:gd name="connsiteY4" fmla="*/ 6858000 h 6858000"/>
              <a:gd name="connsiteX5" fmla="*/ 0 w 2671508"/>
              <a:gd name="connsiteY5" fmla="*/ 1 h 6858000"/>
              <a:gd name="connsiteX6" fmla="*/ 2668167 w 2671508"/>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58000">
                <a:moveTo>
                  <a:pt x="2671508" y="0"/>
                </a:moveTo>
                <a:lnTo>
                  <a:pt x="2427625" y="1023774"/>
                </a:lnTo>
                <a:lnTo>
                  <a:pt x="2427624" y="1023773"/>
                </a:lnTo>
                <a:lnTo>
                  <a:pt x="1037791" y="6858000"/>
                </a:lnTo>
                <a:lnTo>
                  <a:pt x="0" y="6858000"/>
                </a:lnTo>
                <a:lnTo>
                  <a:pt x="0" y="1"/>
                </a:lnTo>
                <a:lnTo>
                  <a:pt x="2668167" y="1"/>
                </a:lnTo>
                <a:close/>
              </a:path>
            </a:pathLst>
          </a:custGeom>
          <a:effectLst>
            <a:outerShdw blurRad="190500" dist="63500" algn="l" rotWithShape="0">
              <a:prstClr val="black">
                <a:alpha val="40000"/>
              </a:prstClr>
            </a:outerShdw>
          </a:effectLst>
        </p:spPr>
      </p:pic>
      <p:sp>
        <p:nvSpPr>
          <p:cNvPr id="2" name="Freeform 1">
            <a:extLst>
              <a:ext uri="{FF2B5EF4-FFF2-40B4-BE49-F238E27FC236}">
                <a16:creationId xmlns:a16="http://schemas.microsoft.com/office/drawing/2014/main" id="{2E34AD8A-8364-82BD-1D0A-BDB1AFE5B0BB}"/>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5" name="Graphic 2">
            <a:extLst>
              <a:ext uri="{FF2B5EF4-FFF2-40B4-BE49-F238E27FC236}">
                <a16:creationId xmlns:a16="http://schemas.microsoft.com/office/drawing/2014/main" id="{0AD7B962-0C7E-42E2-BBA3-EAE42ADC78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EA7211F-4DD3-E517-0790-5494590D2C3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4E2D65F-BA6C-24AF-F2E9-10BB889673A2}"/>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E0E43A5F-B7B5-9A9B-C386-777A4F761EBC}"/>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87258541-1620-A3F5-4FE5-9DAB5DE452B0}"/>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D1DDB787-8729-C44D-D14E-79E85369EDDB}"/>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93B8BB-748E-77AD-D21B-1095677610D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021405B-BD1B-6020-CD51-6D8446D7316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E9D5F0C5-F91F-8124-9BDA-0AA564546B11}"/>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AF448A04-A2ED-C540-0F7B-FCD602CE678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08E4752-7B30-85DF-D704-5318F5AF695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413965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590B2B0-3B49-F9C6-696B-77AF96B297A3}"/>
              </a:ext>
            </a:extLst>
          </p:cNvPr>
          <p:cNvGraphicFramePr>
            <a:graphicFrameLocks noChangeAspect="1"/>
          </p:cNvGraphicFramePr>
          <p:nvPr>
            <p:custDataLst>
              <p:tags r:id="rId1"/>
            </p:custDataLst>
            <p:extLst>
              <p:ext uri="{D42A27DB-BD31-4B8C-83A1-F6EECF244321}">
                <p14:modId xmlns:p14="http://schemas.microsoft.com/office/powerpoint/2010/main" val="209021717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B590B2B0-3B49-F9C6-696B-77AF96B297A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1" descr="A cup of coffee on a table&#10;&#10;Description automatically generated">
            <a:extLst>
              <a:ext uri="{FF2B5EF4-FFF2-40B4-BE49-F238E27FC236}">
                <a16:creationId xmlns:a16="http://schemas.microsoft.com/office/drawing/2014/main" id="{C50D561B-9DDD-35D4-3380-6DCF8BE47286}"/>
              </a:ext>
            </a:extLst>
          </p:cNvPr>
          <p:cNvPicPr>
            <a:picLocks noChangeAspect="1"/>
          </p:cNvPicPr>
          <p:nvPr/>
        </p:nvPicPr>
        <p:blipFill rotWithShape="1">
          <a:blip r:embed="rId5" cstate="print">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804" y="-1"/>
            <a:ext cx="9144002" cy="5143501"/>
          </a:xfrm>
          <a:prstGeom prst="rect">
            <a:avLst/>
          </a:prstGeom>
        </p:spPr>
      </p:pic>
      <p:pic>
        <p:nvPicPr>
          <p:cNvPr id="8" name="Picture 7" descr="A cup of coffee on a table&#10;&#10;Description automatically generated">
            <a:extLst>
              <a:ext uri="{FF2B5EF4-FFF2-40B4-BE49-F238E27FC236}">
                <a16:creationId xmlns:a16="http://schemas.microsoft.com/office/drawing/2014/main" id="{7060624F-07B5-2616-DC12-7E8921F48826}"/>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1" y="2"/>
            <a:ext cx="1998827" cy="5143499"/>
          </a:xfrm>
          <a:custGeom>
            <a:avLst/>
            <a:gdLst>
              <a:gd name="connsiteX0" fmla="*/ 2665102 w 2665102"/>
              <a:gd name="connsiteY0" fmla="*/ 0 h 6857999"/>
              <a:gd name="connsiteX1" fmla="*/ 2421219 w 2665102"/>
              <a:gd name="connsiteY1" fmla="*/ 1023774 h 6857999"/>
              <a:gd name="connsiteX2" fmla="*/ 2421218 w 2665102"/>
              <a:gd name="connsiteY2" fmla="*/ 1023773 h 6857999"/>
              <a:gd name="connsiteX3" fmla="*/ 1031385 w 2665102"/>
              <a:gd name="connsiteY3" fmla="*/ 6857999 h 6857999"/>
              <a:gd name="connsiteX4" fmla="*/ 0 w 2665102"/>
              <a:gd name="connsiteY4" fmla="*/ 6857999 h 6857999"/>
              <a:gd name="connsiteX5" fmla="*/ 0 w 2665102"/>
              <a:gd name="connsiteY5" fmla="*/ 1 h 6857999"/>
              <a:gd name="connsiteX6" fmla="*/ 2661761 w 2665102"/>
              <a:gd name="connsiteY6" fmla="*/ 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5102" h="6857999">
                <a:moveTo>
                  <a:pt x="2665102" y="0"/>
                </a:moveTo>
                <a:lnTo>
                  <a:pt x="2421219" y="1023774"/>
                </a:lnTo>
                <a:lnTo>
                  <a:pt x="2421218" y="1023773"/>
                </a:lnTo>
                <a:lnTo>
                  <a:pt x="1031385" y="6857999"/>
                </a:lnTo>
                <a:lnTo>
                  <a:pt x="0" y="6857999"/>
                </a:lnTo>
                <a:lnTo>
                  <a:pt x="0" y="1"/>
                </a:lnTo>
                <a:lnTo>
                  <a:pt x="2661761" y="1"/>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725AF7F2-0EFA-B6CD-6B6A-926966720B16}"/>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4" name="Graphic 2">
            <a:extLst>
              <a:ext uri="{FF2B5EF4-FFF2-40B4-BE49-F238E27FC236}">
                <a16:creationId xmlns:a16="http://schemas.microsoft.com/office/drawing/2014/main" id="{9BDAC6F6-966D-AF83-2C60-014FF5E2FE86}"/>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6EB0D66-3B01-07A8-D5F4-C99E671F45AD}"/>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8E67519-72C7-6B3C-1F0E-FF3ADB3C59E7}"/>
                  </a:ext>
                </a:extLst>
              </p:cNvPr>
              <p:cNvGrpSpPr/>
              <p:nvPr/>
            </p:nvGrpSpPr>
            <p:grpSpPr>
              <a:xfrm>
                <a:off x="5720269" y="2764575"/>
                <a:ext cx="1656129" cy="1882392"/>
                <a:chOff x="5720269" y="2764575"/>
                <a:chExt cx="1656129" cy="1882392"/>
              </a:xfrm>
              <a:solidFill>
                <a:srgbClr val="00A099"/>
              </a:solidFill>
            </p:grpSpPr>
            <p:sp>
              <p:nvSpPr>
                <p:cNvPr id="14" name="Freeform 75">
                  <a:extLst>
                    <a:ext uri="{FF2B5EF4-FFF2-40B4-BE49-F238E27FC236}">
                      <a16:creationId xmlns:a16="http://schemas.microsoft.com/office/drawing/2014/main" id="{D0638F14-F9E1-2B7D-3BE5-DEDFC98FF4BD}"/>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6">
                  <a:extLst>
                    <a:ext uri="{FF2B5EF4-FFF2-40B4-BE49-F238E27FC236}">
                      <a16:creationId xmlns:a16="http://schemas.microsoft.com/office/drawing/2014/main" id="{30E7DAB1-0C32-5096-F500-2A71C38C707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7">
                  <a:extLst>
                    <a:ext uri="{FF2B5EF4-FFF2-40B4-BE49-F238E27FC236}">
                      <a16:creationId xmlns:a16="http://schemas.microsoft.com/office/drawing/2014/main" id="{3D2F153E-8274-B33F-ABAB-07995F5F732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441A4C2-90A1-F101-F6F8-35693491D27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454D445C-DAD6-A6C0-EF5A-F2E358769C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3" name="Freeform 74">
                <a:extLst>
                  <a:ext uri="{FF2B5EF4-FFF2-40B4-BE49-F238E27FC236}">
                    <a16:creationId xmlns:a16="http://schemas.microsoft.com/office/drawing/2014/main" id="{8E2BC5B1-26F2-445A-6868-B27A7C1D74E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02B1F430-C00E-EFDE-B69A-1730BBFB5803}"/>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9" name="Freeform 70">
              <a:extLst>
                <a:ext uri="{FF2B5EF4-FFF2-40B4-BE49-F238E27FC236}">
                  <a16:creationId xmlns:a16="http://schemas.microsoft.com/office/drawing/2014/main" id="{5209650C-A6C3-846A-813C-0690EF15B62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362771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CF9607B-D3E3-C39C-3FD5-552CDEDF875A}"/>
              </a:ext>
            </a:extLst>
          </p:cNvPr>
          <p:cNvGraphicFramePr>
            <a:graphicFrameLocks noChangeAspect="1"/>
          </p:cNvGraphicFramePr>
          <p:nvPr>
            <p:custDataLst>
              <p:tags r:id="rId1"/>
            </p:custDataLst>
            <p:extLst>
              <p:ext uri="{D42A27DB-BD31-4B8C-83A1-F6EECF244321}">
                <p14:modId xmlns:p14="http://schemas.microsoft.com/office/powerpoint/2010/main" val="47157908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think-cell data - do not delete" hidden="1">
                        <a:extLst>
                          <a:ext uri="{FF2B5EF4-FFF2-40B4-BE49-F238E27FC236}">
                            <a16:creationId xmlns:a16="http://schemas.microsoft.com/office/drawing/2014/main" id="{FCF9607B-D3E3-C39C-3FD5-552CDEDF875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73" name="Picture 72">
            <a:extLst>
              <a:ext uri="{FF2B5EF4-FFF2-40B4-BE49-F238E27FC236}">
                <a16:creationId xmlns:a16="http://schemas.microsoft.com/office/drawing/2014/main" id="{6AE6E571-F88A-33C7-1BFC-015D06F413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098" y="678596"/>
            <a:ext cx="5955994" cy="378630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7" name="Rectangle 6">
            <a:extLst>
              <a:ext uri="{FF2B5EF4-FFF2-40B4-BE49-F238E27FC236}">
                <a16:creationId xmlns:a16="http://schemas.microsoft.com/office/drawing/2014/main" id="{D1ABBE51-5CE8-F43F-361E-8E0499BE7DE8}"/>
              </a:ext>
            </a:extLst>
          </p:cNvPr>
          <p:cNvSpPr/>
          <p:nvPr/>
        </p:nvSpPr>
        <p:spPr>
          <a:xfrm>
            <a:off x="-1" y="672615"/>
            <a:ext cx="9144001" cy="378630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pPr>
            <a:endParaRPr kumimoji="0" lang="en-US" sz="1200" b="1" i="0" u="none" strike="noStrike" cap="none" spc="0" normalizeH="0" baseline="0" noProof="0">
              <a:ln>
                <a:noFill/>
              </a:ln>
              <a:solidFill>
                <a:srgbClr val="575555"/>
              </a:solidFill>
              <a:effectLst/>
              <a:uLnTx/>
              <a:uFillTx/>
              <a:latin typeface="Nexa Bold" panose="00000800000000000000" pitchFamily="2" charset="0"/>
            </a:endParaRPr>
          </a:p>
        </p:txBody>
      </p:sp>
      <p:pic>
        <p:nvPicPr>
          <p:cNvPr id="2" name="Picture 1">
            <a:extLst>
              <a:ext uri="{FF2B5EF4-FFF2-40B4-BE49-F238E27FC236}">
                <a16:creationId xmlns:a16="http://schemas.microsoft.com/office/drawing/2014/main" id="{FB3A9BD7-E8BE-CAC7-E670-B5F91215B4E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1" y="2"/>
            <a:ext cx="1988357" cy="5143499"/>
          </a:xfrm>
          <a:custGeom>
            <a:avLst/>
            <a:gdLst>
              <a:gd name="connsiteX0" fmla="*/ 0 w 2651142"/>
              <a:gd name="connsiteY0" fmla="*/ 0 h 6857999"/>
              <a:gd name="connsiteX1" fmla="*/ 2651142 w 2651142"/>
              <a:gd name="connsiteY1" fmla="*/ 0 h 6857999"/>
              <a:gd name="connsiteX2" fmla="*/ 2407857 w 2651142"/>
              <a:gd name="connsiteY2" fmla="*/ 1021264 h 6857999"/>
              <a:gd name="connsiteX3" fmla="*/ 2407856 w 2651142"/>
              <a:gd name="connsiteY3" fmla="*/ 1021263 h 6857999"/>
              <a:gd name="connsiteX4" fmla="*/ 1017425 w 2651142"/>
              <a:gd name="connsiteY4" fmla="*/ 6857999 h 6857999"/>
              <a:gd name="connsiteX5" fmla="*/ 0 w 2651142"/>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1142" h="6857999">
                <a:moveTo>
                  <a:pt x="0" y="0"/>
                </a:moveTo>
                <a:lnTo>
                  <a:pt x="2651142" y="0"/>
                </a:lnTo>
                <a:lnTo>
                  <a:pt x="2407857" y="1021264"/>
                </a:lnTo>
                <a:lnTo>
                  <a:pt x="2407856" y="1021263"/>
                </a:lnTo>
                <a:lnTo>
                  <a:pt x="1017425" y="6857999"/>
                </a:lnTo>
                <a:lnTo>
                  <a:pt x="0" y="6857999"/>
                </a:lnTo>
                <a:close/>
              </a:path>
            </a:pathLst>
          </a:custGeom>
          <a:effectLst>
            <a:outerShdw blurRad="190500" dist="63500" algn="l" rotWithShape="0">
              <a:prstClr val="black">
                <a:alpha val="40000"/>
              </a:prstClr>
            </a:outerShdw>
          </a:effectLst>
        </p:spPr>
      </p:pic>
      <p:sp>
        <p:nvSpPr>
          <p:cNvPr id="3" name="Freeform 2">
            <a:extLst>
              <a:ext uri="{FF2B5EF4-FFF2-40B4-BE49-F238E27FC236}">
                <a16:creationId xmlns:a16="http://schemas.microsoft.com/office/drawing/2014/main" id="{2F76746C-81D2-A3CC-B059-C282200B360F}"/>
              </a:ext>
            </a:extLst>
          </p:cNvPr>
          <p:cNvSpPr/>
          <p:nvPr/>
        </p:nvSpPr>
        <p:spPr>
          <a:xfrm>
            <a:off x="1" y="1"/>
            <a:ext cx="1988357"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92F9C6DB-5652-34A6-1B95-3E6DA8F9204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rcRect/>
          <a:stretch/>
        </p:blipFill>
        <p:spPr>
          <a:xfrm>
            <a:off x="4850202" y="-1"/>
            <a:ext cx="4291172" cy="5138737"/>
          </a:xfrm>
          <a:custGeom>
            <a:avLst/>
            <a:gdLst>
              <a:gd name="connsiteX0" fmla="*/ 1105916 w 5721563"/>
              <a:gd name="connsiteY0" fmla="*/ 0 h 6851649"/>
              <a:gd name="connsiteX1" fmla="*/ 5721563 w 5721563"/>
              <a:gd name="connsiteY1" fmla="*/ 0 h 6851649"/>
              <a:gd name="connsiteX2" fmla="*/ 5721563 w 5721563"/>
              <a:gd name="connsiteY2" fmla="*/ 6851649 h 6851649"/>
              <a:gd name="connsiteX3" fmla="*/ 563823 w 5721563"/>
              <a:gd name="connsiteY3" fmla="*/ 6851649 h 6851649"/>
              <a:gd name="connsiteX4" fmla="*/ 568538 w 5721563"/>
              <a:gd name="connsiteY4" fmla="*/ 6848651 h 6851649"/>
              <a:gd name="connsiteX5" fmla="*/ 568537 w 5721563"/>
              <a:gd name="connsiteY5" fmla="*/ 6848651 h 6851649"/>
              <a:gd name="connsiteX6" fmla="*/ 563822 w 5721563"/>
              <a:gd name="connsiteY6" fmla="*/ 6851649 h 6851649"/>
              <a:gd name="connsiteX7" fmla="*/ 0 w 5721563"/>
              <a:gd name="connsiteY7" fmla="*/ 6851649 h 6851649"/>
              <a:gd name="connsiteX8" fmla="*/ 167413 w 5721563"/>
              <a:gd name="connsiteY8" fmla="*/ 5814448 h 6851649"/>
              <a:gd name="connsiteX9" fmla="*/ 925593 w 5721563"/>
              <a:gd name="connsiteY9" fmla="*/ 5814448 h 6851649"/>
              <a:gd name="connsiteX10" fmla="*/ 925593 w 5721563"/>
              <a:gd name="connsiteY10" fmla="*/ 5814447 h 6851649"/>
              <a:gd name="connsiteX11" fmla="*/ 167413 w 5721563"/>
              <a:gd name="connsiteY11" fmla="*/ 5814447 h 6851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1563" h="6851649">
                <a:moveTo>
                  <a:pt x="1105916" y="0"/>
                </a:moveTo>
                <a:lnTo>
                  <a:pt x="5721563" y="0"/>
                </a:lnTo>
                <a:lnTo>
                  <a:pt x="5721563" y="6851649"/>
                </a:lnTo>
                <a:lnTo>
                  <a:pt x="563823" y="6851649"/>
                </a:lnTo>
                <a:lnTo>
                  <a:pt x="568538" y="6848651"/>
                </a:lnTo>
                <a:lnTo>
                  <a:pt x="568537" y="6848651"/>
                </a:lnTo>
                <a:lnTo>
                  <a:pt x="563822" y="6851649"/>
                </a:lnTo>
                <a:lnTo>
                  <a:pt x="0" y="6851649"/>
                </a:lnTo>
                <a:lnTo>
                  <a:pt x="167413" y="5814448"/>
                </a:lnTo>
                <a:lnTo>
                  <a:pt x="925593" y="5814448"/>
                </a:lnTo>
                <a:lnTo>
                  <a:pt x="925593" y="5814447"/>
                </a:lnTo>
                <a:lnTo>
                  <a:pt x="167413" y="5814447"/>
                </a:lnTo>
                <a:close/>
              </a:path>
            </a:pathLst>
          </a:custGeom>
          <a:effectLst>
            <a:outerShdw blurRad="190500" dist="63500" dir="10800000" algn="r" rotWithShape="0">
              <a:prstClr val="black">
                <a:alpha val="40000"/>
              </a:prstClr>
            </a:outerShdw>
          </a:effectLst>
        </p:spPr>
      </p:pic>
      <p:sp>
        <p:nvSpPr>
          <p:cNvPr id="5" name="Freeform 4">
            <a:extLst>
              <a:ext uri="{FF2B5EF4-FFF2-40B4-BE49-F238E27FC236}">
                <a16:creationId xmlns:a16="http://schemas.microsoft.com/office/drawing/2014/main" id="{710712F7-0D84-64BE-69EB-BDCD89FEB83C}"/>
              </a:ext>
            </a:extLst>
          </p:cNvPr>
          <p:cNvSpPr/>
          <p:nvPr/>
        </p:nvSpPr>
        <p:spPr>
          <a:xfrm>
            <a:off x="4850202" y="1025"/>
            <a:ext cx="4291172" cy="5145940"/>
          </a:xfrm>
          <a:custGeom>
            <a:avLst/>
            <a:gdLst>
              <a:gd name="connsiteX0" fmla="*/ 1107467 w 5721563"/>
              <a:gd name="connsiteY0" fmla="*/ 0 h 6861253"/>
              <a:gd name="connsiteX1" fmla="*/ 5721563 w 5721563"/>
              <a:gd name="connsiteY1" fmla="*/ 0 h 6861253"/>
              <a:gd name="connsiteX2" fmla="*/ 5721563 w 5721563"/>
              <a:gd name="connsiteY2" fmla="*/ 6861253 h 6861253"/>
              <a:gd name="connsiteX3" fmla="*/ 563823 w 5721563"/>
              <a:gd name="connsiteY3" fmla="*/ 6861253 h 6861253"/>
              <a:gd name="connsiteX4" fmla="*/ 568538 w 5721563"/>
              <a:gd name="connsiteY4" fmla="*/ 6858255 h 6861253"/>
              <a:gd name="connsiteX5" fmla="*/ 568537 w 5721563"/>
              <a:gd name="connsiteY5" fmla="*/ 6858255 h 6861253"/>
              <a:gd name="connsiteX6" fmla="*/ 563822 w 5721563"/>
              <a:gd name="connsiteY6" fmla="*/ 6861253 h 6861253"/>
              <a:gd name="connsiteX7" fmla="*/ 0 w 5721563"/>
              <a:gd name="connsiteY7" fmla="*/ 6861253 h 6861253"/>
              <a:gd name="connsiteX8" fmla="*/ 167413 w 5721563"/>
              <a:gd name="connsiteY8" fmla="*/ 5824052 h 6861253"/>
              <a:gd name="connsiteX9" fmla="*/ 925593 w 5721563"/>
              <a:gd name="connsiteY9" fmla="*/ 5824052 h 6861253"/>
              <a:gd name="connsiteX10" fmla="*/ 925593 w 5721563"/>
              <a:gd name="connsiteY10" fmla="*/ 5824051 h 6861253"/>
              <a:gd name="connsiteX11" fmla="*/ 167413 w 5721563"/>
              <a:gd name="connsiteY11" fmla="*/ 5824051 h 6861253"/>
              <a:gd name="connsiteX12" fmla="*/ 1107466 w 5721563"/>
              <a:gd name="connsiteY12" fmla="*/ 2 h 6861253"/>
              <a:gd name="connsiteX13" fmla="*/ 1635383 w 5721563"/>
              <a:gd name="connsiteY13" fmla="*/ 2 h 6861253"/>
              <a:gd name="connsiteX14" fmla="*/ 1697942 w 5721563"/>
              <a:gd name="connsiteY14" fmla="*/ 8479 h 6861253"/>
              <a:gd name="connsiteX15" fmla="*/ 1697942 w 5721563"/>
              <a:gd name="connsiteY15" fmla="*/ 8478 h 6861253"/>
              <a:gd name="connsiteX16" fmla="*/ 1635383 w 5721563"/>
              <a:gd name="connsiteY16" fmla="*/ 1 h 6861253"/>
              <a:gd name="connsiteX17" fmla="*/ 1107466 w 5721563"/>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21563" h="6861253">
                <a:moveTo>
                  <a:pt x="1107467" y="0"/>
                </a:moveTo>
                <a:lnTo>
                  <a:pt x="5721563" y="0"/>
                </a:lnTo>
                <a:lnTo>
                  <a:pt x="5721563"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B50DCEB8-3530-6C34-A04F-0C98B5C867B3}"/>
              </a:ext>
            </a:extLst>
          </p:cNvPr>
          <p:cNvSpPr txBox="1"/>
          <p:nvPr/>
        </p:nvSpPr>
        <p:spPr>
          <a:xfrm>
            <a:off x="148009" y="123171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ECAC4">
                    <a:lumMod val="60000"/>
                    <a:lumOff val="40000"/>
                  </a:srgbClr>
                </a:solidFill>
                <a:effectLst/>
                <a:uLnTx/>
                <a:uFillTx/>
                <a:latin typeface="+mn-lt"/>
                <a:ea typeface="+mn-ea"/>
                <a:cs typeface="+mn-cs"/>
              </a:rPr>
              <a:t>GENEVA | DUBAI | CINCINNATI</a:t>
            </a:r>
          </a:p>
        </p:txBody>
      </p:sp>
      <p:grpSp>
        <p:nvGrpSpPr>
          <p:cNvPr id="6" name="Group 5">
            <a:extLst>
              <a:ext uri="{FF2B5EF4-FFF2-40B4-BE49-F238E27FC236}">
                <a16:creationId xmlns:a16="http://schemas.microsoft.com/office/drawing/2014/main" id="{1B0D39D9-3130-99BC-36BD-6BD2DB84334D}"/>
              </a:ext>
            </a:extLst>
          </p:cNvPr>
          <p:cNvGrpSpPr>
            <a:grpSpLocks noChangeAspect="1"/>
          </p:cNvGrpSpPr>
          <p:nvPr/>
        </p:nvGrpSpPr>
        <p:grpSpPr>
          <a:xfrm>
            <a:off x="250461" y="210563"/>
            <a:ext cx="1188566" cy="1011018"/>
            <a:chOff x="2716311" y="648027"/>
            <a:chExt cx="6759377" cy="5739971"/>
          </a:xfrm>
        </p:grpSpPr>
        <p:grpSp>
          <p:nvGrpSpPr>
            <p:cNvPr id="8" name="Graphic 2">
              <a:extLst>
                <a:ext uri="{FF2B5EF4-FFF2-40B4-BE49-F238E27FC236}">
                  <a16:creationId xmlns:a16="http://schemas.microsoft.com/office/drawing/2014/main" id="{106968BB-C7DC-72F6-AC09-D3281ECDDE17}"/>
                </a:ext>
              </a:extLst>
            </p:cNvPr>
            <p:cNvGrpSpPr/>
            <p:nvPr/>
          </p:nvGrpSpPr>
          <p:grpSpPr>
            <a:xfrm>
              <a:off x="2716311" y="5613022"/>
              <a:ext cx="6269002" cy="774976"/>
              <a:chOff x="2766490" y="5410804"/>
              <a:chExt cx="6269002" cy="774976"/>
            </a:xfrm>
            <a:solidFill>
              <a:schemeClr val="accent1"/>
            </a:solidFill>
          </p:grpSpPr>
          <p:grpSp>
            <p:nvGrpSpPr>
              <p:cNvPr id="53" name="Graphic 2">
                <a:extLst>
                  <a:ext uri="{FF2B5EF4-FFF2-40B4-BE49-F238E27FC236}">
                    <a16:creationId xmlns:a16="http://schemas.microsoft.com/office/drawing/2014/main" id="{807CF428-62B5-85DB-0D4B-6D6A99C1630D}"/>
                  </a:ext>
                </a:extLst>
              </p:cNvPr>
              <p:cNvGrpSpPr/>
              <p:nvPr/>
            </p:nvGrpSpPr>
            <p:grpSpPr>
              <a:xfrm>
                <a:off x="2766490" y="5426323"/>
                <a:ext cx="3923857" cy="759457"/>
                <a:chOff x="2766490" y="5426323"/>
                <a:chExt cx="3923857" cy="759457"/>
              </a:xfrm>
              <a:solidFill>
                <a:srgbClr val="FFFFFF"/>
              </a:solidFill>
            </p:grpSpPr>
            <p:sp>
              <p:nvSpPr>
                <p:cNvPr id="59" name="Freeform 83">
                  <a:extLst>
                    <a:ext uri="{FF2B5EF4-FFF2-40B4-BE49-F238E27FC236}">
                      <a16:creationId xmlns:a16="http://schemas.microsoft.com/office/drawing/2014/main" id="{4E64EF4B-1C24-1921-EB0B-7293959DBE81}"/>
                    </a:ext>
                  </a:extLst>
                </p:cNvPr>
                <p:cNvSpPr/>
                <p:nvPr/>
              </p:nvSpPr>
              <p:spPr>
                <a:xfrm>
                  <a:off x="2766490" y="5436796"/>
                  <a:ext cx="564644" cy="739368"/>
                </a:xfrm>
                <a:custGeom>
                  <a:avLst/>
                  <a:gdLst>
                    <a:gd name="connsiteX0" fmla="*/ 56981 w 564644"/>
                    <a:gd name="connsiteY0" fmla="*/ 483741 h 739368"/>
                    <a:gd name="connsiteX1" fmla="*/ 56981 w 564644"/>
                    <a:gd name="connsiteY1" fmla="*/ 739368 h 739368"/>
                    <a:gd name="connsiteX2" fmla="*/ 0 w 564644"/>
                    <a:gd name="connsiteY2" fmla="*/ 739368 h 739368"/>
                    <a:gd name="connsiteX3" fmla="*/ 0 w 564644"/>
                    <a:gd name="connsiteY3" fmla="*/ 0 h 739368"/>
                    <a:gd name="connsiteX4" fmla="*/ 324000 w 564644"/>
                    <a:gd name="connsiteY4" fmla="*/ 0 h 739368"/>
                    <a:gd name="connsiteX5" fmla="*/ 324000 w 564644"/>
                    <a:gd name="connsiteY5" fmla="*/ 483741 h 739368"/>
                    <a:gd name="connsiteX6" fmla="*/ 56981 w 564644"/>
                    <a:gd name="connsiteY6" fmla="*/ 483741 h 739368"/>
                    <a:gd name="connsiteX7" fmla="*/ 56981 w 564644"/>
                    <a:gd name="connsiteY7" fmla="*/ 52839 h 739368"/>
                    <a:gd name="connsiteX8" fmla="*/ 56981 w 564644"/>
                    <a:gd name="connsiteY8" fmla="*/ 432044 h 739368"/>
                    <a:gd name="connsiteX9" fmla="*/ 324000 w 564644"/>
                    <a:gd name="connsiteY9" fmla="*/ 432044 h 739368"/>
                    <a:gd name="connsiteX10" fmla="*/ 324000 w 564644"/>
                    <a:gd name="connsiteY10" fmla="*/ 52839 h 739368"/>
                    <a:gd name="connsiteX11" fmla="*/ 56981 w 564644"/>
                    <a:gd name="connsiteY11" fmla="*/ 52839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44" h="739368">
                      <a:moveTo>
                        <a:pt x="56981" y="483741"/>
                      </a:moveTo>
                      <a:lnTo>
                        <a:pt x="56981" y="739368"/>
                      </a:lnTo>
                      <a:lnTo>
                        <a:pt x="0" y="739368"/>
                      </a:lnTo>
                      <a:lnTo>
                        <a:pt x="0" y="0"/>
                      </a:lnTo>
                      <a:cubicBezTo>
                        <a:pt x="107683" y="0"/>
                        <a:pt x="216317" y="0"/>
                        <a:pt x="324000" y="0"/>
                      </a:cubicBezTo>
                      <a:cubicBezTo>
                        <a:pt x="644860" y="0"/>
                        <a:pt x="644860" y="483741"/>
                        <a:pt x="324000" y="483741"/>
                      </a:cubicBezTo>
                      <a:lnTo>
                        <a:pt x="56981" y="483741"/>
                      </a:lnTo>
                      <a:close/>
                      <a:moveTo>
                        <a:pt x="56981" y="52839"/>
                      </a:moveTo>
                      <a:lnTo>
                        <a:pt x="56981" y="432044"/>
                      </a:lnTo>
                      <a:lnTo>
                        <a:pt x="324000" y="432044"/>
                      </a:lnTo>
                      <a:cubicBezTo>
                        <a:pt x="569901" y="432044"/>
                        <a:pt x="569901" y="52839"/>
                        <a:pt x="324000" y="52839"/>
                      </a:cubicBezTo>
                      <a:lnTo>
                        <a:pt x="56981" y="52839"/>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0" name="Freeform 84">
                  <a:extLst>
                    <a:ext uri="{FF2B5EF4-FFF2-40B4-BE49-F238E27FC236}">
                      <a16:creationId xmlns:a16="http://schemas.microsoft.com/office/drawing/2014/main" id="{34788C8C-45E0-05A6-8F7E-386119E1E99E}"/>
                    </a:ext>
                  </a:extLst>
                </p:cNvPr>
                <p:cNvSpPr/>
                <p:nvPr/>
              </p:nvSpPr>
              <p:spPr>
                <a:xfrm>
                  <a:off x="3457771" y="5436796"/>
                  <a:ext cx="588925" cy="739368"/>
                </a:xfrm>
                <a:custGeom>
                  <a:avLst/>
                  <a:gdLst>
                    <a:gd name="connsiteX0" fmla="*/ 588926 w 588925"/>
                    <a:gd name="connsiteY0" fmla="*/ 739368 h 739368"/>
                    <a:gd name="connsiteX1" fmla="*/ 513967 w 588925"/>
                    <a:gd name="connsiteY1" fmla="*/ 739368 h 739368"/>
                    <a:gd name="connsiteX2" fmla="*/ 258553 w 588925"/>
                    <a:gd name="connsiteY2" fmla="*/ 459463 h 739368"/>
                    <a:gd name="connsiteX3" fmla="*/ 56981 w 588925"/>
                    <a:gd name="connsiteY3" fmla="*/ 459463 h 739368"/>
                    <a:gd name="connsiteX4" fmla="*/ 56981 w 588925"/>
                    <a:gd name="connsiteY4" fmla="*/ 739368 h 739368"/>
                    <a:gd name="connsiteX5" fmla="*/ 0 w 588925"/>
                    <a:gd name="connsiteY5" fmla="*/ 739368 h 739368"/>
                    <a:gd name="connsiteX6" fmla="*/ 0 w 588925"/>
                    <a:gd name="connsiteY6" fmla="*/ 0 h 739368"/>
                    <a:gd name="connsiteX7" fmla="*/ 325046 w 588925"/>
                    <a:gd name="connsiteY7" fmla="*/ 0 h 739368"/>
                    <a:gd name="connsiteX8" fmla="*/ 567808 w 588925"/>
                    <a:gd name="connsiteY8" fmla="*/ 230303 h 739368"/>
                    <a:gd name="connsiteX9" fmla="*/ 328185 w 588925"/>
                    <a:gd name="connsiteY9" fmla="*/ 456322 h 739368"/>
                    <a:gd name="connsiteX10" fmla="*/ 588926 w 588925"/>
                    <a:gd name="connsiteY10" fmla="*/ 739368 h 739368"/>
                    <a:gd name="connsiteX11" fmla="*/ 56981 w 588925"/>
                    <a:gd name="connsiteY11" fmla="*/ 405577 h 739368"/>
                    <a:gd name="connsiteX12" fmla="*/ 318673 w 588925"/>
                    <a:gd name="connsiteY12" fmla="*/ 405577 h 739368"/>
                    <a:gd name="connsiteX13" fmla="*/ 505500 w 588925"/>
                    <a:gd name="connsiteY13" fmla="*/ 229161 h 739368"/>
                    <a:gd name="connsiteX14" fmla="*/ 325046 w 588925"/>
                    <a:gd name="connsiteY14" fmla="*/ 52744 h 739368"/>
                    <a:gd name="connsiteX15" fmla="*/ 56981 w 588925"/>
                    <a:gd name="connsiteY15" fmla="*/ 52744 h 739368"/>
                    <a:gd name="connsiteX16" fmla="*/ 56981 w 588925"/>
                    <a:gd name="connsiteY16" fmla="*/ 405577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8925" h="739368">
                      <a:moveTo>
                        <a:pt x="588926" y="739368"/>
                      </a:moveTo>
                      <a:lnTo>
                        <a:pt x="513967" y="739368"/>
                      </a:lnTo>
                      <a:lnTo>
                        <a:pt x="258553" y="459463"/>
                      </a:lnTo>
                      <a:lnTo>
                        <a:pt x="56981" y="459463"/>
                      </a:lnTo>
                      <a:lnTo>
                        <a:pt x="56981" y="739368"/>
                      </a:lnTo>
                      <a:lnTo>
                        <a:pt x="0" y="739368"/>
                      </a:lnTo>
                      <a:lnTo>
                        <a:pt x="0" y="0"/>
                      </a:lnTo>
                      <a:cubicBezTo>
                        <a:pt x="108729" y="0"/>
                        <a:pt x="216317" y="0"/>
                        <a:pt x="325046" y="0"/>
                      </a:cubicBezTo>
                      <a:cubicBezTo>
                        <a:pt x="485429" y="0"/>
                        <a:pt x="566762" y="115104"/>
                        <a:pt x="567808" y="230303"/>
                      </a:cubicBezTo>
                      <a:cubicBezTo>
                        <a:pt x="568854" y="350738"/>
                        <a:pt x="489709" y="456322"/>
                        <a:pt x="328185" y="456322"/>
                      </a:cubicBezTo>
                      <a:lnTo>
                        <a:pt x="588926" y="739368"/>
                      </a:lnTo>
                      <a:close/>
                      <a:moveTo>
                        <a:pt x="56981" y="405577"/>
                      </a:moveTo>
                      <a:lnTo>
                        <a:pt x="318673" y="405577"/>
                      </a:lnTo>
                      <a:cubicBezTo>
                        <a:pt x="447473" y="405577"/>
                        <a:pt x="504454" y="332745"/>
                        <a:pt x="505500" y="229161"/>
                      </a:cubicBezTo>
                      <a:cubicBezTo>
                        <a:pt x="506547" y="142523"/>
                        <a:pt x="447473" y="52744"/>
                        <a:pt x="325046" y="52744"/>
                      </a:cubicBezTo>
                      <a:lnTo>
                        <a:pt x="56981" y="52744"/>
                      </a:lnTo>
                      <a:lnTo>
                        <a:pt x="56981" y="40557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1" name="Freeform 85">
                  <a:extLst>
                    <a:ext uri="{FF2B5EF4-FFF2-40B4-BE49-F238E27FC236}">
                      <a16:creationId xmlns:a16="http://schemas.microsoft.com/office/drawing/2014/main" id="{6E3F8B15-ED79-680D-0A85-3A10528538CF}"/>
                    </a:ext>
                  </a:extLst>
                </p:cNvPr>
                <p:cNvSpPr/>
                <p:nvPr/>
              </p:nvSpPr>
              <p:spPr>
                <a:xfrm>
                  <a:off x="4142679" y="5436796"/>
                  <a:ext cx="55934" cy="739368"/>
                </a:xfrm>
                <a:custGeom>
                  <a:avLst/>
                  <a:gdLst>
                    <a:gd name="connsiteX0" fmla="*/ 0 w 55934"/>
                    <a:gd name="connsiteY0" fmla="*/ 739368 h 739368"/>
                    <a:gd name="connsiteX1" fmla="*/ 0 w 55934"/>
                    <a:gd name="connsiteY1" fmla="*/ 0 h 739368"/>
                    <a:gd name="connsiteX2" fmla="*/ 55934 w 55934"/>
                    <a:gd name="connsiteY2" fmla="*/ 0 h 739368"/>
                    <a:gd name="connsiteX3" fmla="*/ 55934 w 55934"/>
                    <a:gd name="connsiteY3" fmla="*/ 739368 h 739368"/>
                    <a:gd name="connsiteX4" fmla="*/ 0 w 55934"/>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4"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2" name="Freeform 86">
                  <a:extLst>
                    <a:ext uri="{FF2B5EF4-FFF2-40B4-BE49-F238E27FC236}">
                      <a16:creationId xmlns:a16="http://schemas.microsoft.com/office/drawing/2014/main" id="{9547A5DC-666F-72CE-6066-06F1797B0143}"/>
                    </a:ext>
                  </a:extLst>
                </p:cNvPr>
                <p:cNvSpPr/>
                <p:nvPr/>
              </p:nvSpPr>
              <p:spPr>
                <a:xfrm>
                  <a:off x="4322062" y="5428322"/>
                  <a:ext cx="649070" cy="756315"/>
                </a:xfrm>
                <a:custGeom>
                  <a:avLst/>
                  <a:gdLst>
                    <a:gd name="connsiteX0" fmla="*/ 649071 w 649070"/>
                    <a:gd name="connsiteY0" fmla="*/ 645400 h 756315"/>
                    <a:gd name="connsiteX1" fmla="*/ 379959 w 649070"/>
                    <a:gd name="connsiteY1" fmla="*/ 756315 h 756315"/>
                    <a:gd name="connsiteX2" fmla="*/ 25 w 649070"/>
                    <a:gd name="connsiteY2" fmla="*/ 382346 h 756315"/>
                    <a:gd name="connsiteX3" fmla="*/ 379959 w 649070"/>
                    <a:gd name="connsiteY3" fmla="*/ 0 h 756315"/>
                    <a:gd name="connsiteX4" fmla="*/ 649071 w 649070"/>
                    <a:gd name="connsiteY4" fmla="*/ 110915 h 756315"/>
                    <a:gd name="connsiteX5" fmla="*/ 610069 w 649070"/>
                    <a:gd name="connsiteY5" fmla="*/ 144713 h 756315"/>
                    <a:gd name="connsiteX6" fmla="*/ 379959 w 649070"/>
                    <a:gd name="connsiteY6" fmla="*/ 50745 h 756315"/>
                    <a:gd name="connsiteX7" fmla="*/ 54913 w 649070"/>
                    <a:gd name="connsiteY7" fmla="*/ 380347 h 756315"/>
                    <a:gd name="connsiteX8" fmla="*/ 379959 w 649070"/>
                    <a:gd name="connsiteY8" fmla="*/ 703571 h 756315"/>
                    <a:gd name="connsiteX9" fmla="*/ 611116 w 649070"/>
                    <a:gd name="connsiteY9" fmla="*/ 609508 h 756315"/>
                    <a:gd name="connsiteX10" fmla="*/ 649071 w 649070"/>
                    <a:gd name="connsiteY10" fmla="*/ 645400 h 7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9070" h="756315">
                      <a:moveTo>
                        <a:pt x="649071" y="645400"/>
                      </a:moveTo>
                      <a:cubicBezTo>
                        <a:pt x="575158" y="719375"/>
                        <a:pt x="477083" y="756315"/>
                        <a:pt x="379959" y="756315"/>
                      </a:cubicBezTo>
                      <a:cubicBezTo>
                        <a:pt x="130919" y="756315"/>
                        <a:pt x="1072" y="581993"/>
                        <a:pt x="25" y="382346"/>
                      </a:cubicBezTo>
                      <a:cubicBezTo>
                        <a:pt x="-2068" y="184794"/>
                        <a:pt x="126638" y="0"/>
                        <a:pt x="379959" y="0"/>
                      </a:cubicBezTo>
                      <a:cubicBezTo>
                        <a:pt x="477083" y="0"/>
                        <a:pt x="575253" y="36940"/>
                        <a:pt x="649071" y="110915"/>
                      </a:cubicBezTo>
                      <a:lnTo>
                        <a:pt x="610069" y="144713"/>
                      </a:lnTo>
                      <a:cubicBezTo>
                        <a:pt x="546715" y="81306"/>
                        <a:pt x="463384" y="50745"/>
                        <a:pt x="379959" y="50745"/>
                      </a:cubicBezTo>
                      <a:cubicBezTo>
                        <a:pt x="164688" y="50745"/>
                        <a:pt x="53866" y="202884"/>
                        <a:pt x="54913" y="380347"/>
                      </a:cubicBezTo>
                      <a:cubicBezTo>
                        <a:pt x="57006" y="553622"/>
                        <a:pt x="166781" y="703571"/>
                        <a:pt x="379959" y="703571"/>
                      </a:cubicBezTo>
                      <a:cubicBezTo>
                        <a:pt x="463384" y="703571"/>
                        <a:pt x="547761" y="671868"/>
                        <a:pt x="611116" y="609508"/>
                      </a:cubicBezTo>
                      <a:lnTo>
                        <a:pt x="649071" y="64540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3" name="Freeform 87">
                  <a:extLst>
                    <a:ext uri="{FF2B5EF4-FFF2-40B4-BE49-F238E27FC236}">
                      <a16:creationId xmlns:a16="http://schemas.microsoft.com/office/drawing/2014/main" id="{89649E48-571E-0B17-E18A-9D78002CD292}"/>
                    </a:ext>
                  </a:extLst>
                </p:cNvPr>
                <p:cNvSpPr/>
                <p:nvPr/>
              </p:nvSpPr>
              <p:spPr>
                <a:xfrm>
                  <a:off x="5106212" y="5436796"/>
                  <a:ext cx="55933" cy="739368"/>
                </a:xfrm>
                <a:custGeom>
                  <a:avLst/>
                  <a:gdLst>
                    <a:gd name="connsiteX0" fmla="*/ 0 w 55933"/>
                    <a:gd name="connsiteY0" fmla="*/ 739368 h 739368"/>
                    <a:gd name="connsiteX1" fmla="*/ 0 w 55933"/>
                    <a:gd name="connsiteY1" fmla="*/ 0 h 739368"/>
                    <a:gd name="connsiteX2" fmla="*/ 55934 w 55933"/>
                    <a:gd name="connsiteY2" fmla="*/ 0 h 739368"/>
                    <a:gd name="connsiteX3" fmla="*/ 55934 w 55933"/>
                    <a:gd name="connsiteY3" fmla="*/ 739368 h 739368"/>
                    <a:gd name="connsiteX4" fmla="*/ 0 w 55933"/>
                    <a:gd name="connsiteY4" fmla="*/ 739368 h 739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3" h="739368">
                      <a:moveTo>
                        <a:pt x="0" y="739368"/>
                      </a:moveTo>
                      <a:lnTo>
                        <a:pt x="0" y="0"/>
                      </a:lnTo>
                      <a:lnTo>
                        <a:pt x="55934" y="0"/>
                      </a:lnTo>
                      <a:lnTo>
                        <a:pt x="55934" y="739368"/>
                      </a:lnTo>
                      <a:lnTo>
                        <a:pt x="0" y="73936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4" name="Freeform 88">
                  <a:extLst>
                    <a:ext uri="{FF2B5EF4-FFF2-40B4-BE49-F238E27FC236}">
                      <a16:creationId xmlns:a16="http://schemas.microsoft.com/office/drawing/2014/main" id="{08EB8E66-FCAC-C9FB-C18E-C15829F7F00D}"/>
                    </a:ext>
                  </a:extLst>
                </p:cNvPr>
                <p:cNvSpPr/>
                <p:nvPr/>
              </p:nvSpPr>
              <p:spPr>
                <a:xfrm>
                  <a:off x="5325763" y="5436796"/>
                  <a:ext cx="577320" cy="739368"/>
                </a:xfrm>
                <a:custGeom>
                  <a:avLst/>
                  <a:gdLst>
                    <a:gd name="connsiteX0" fmla="*/ 24257 w 577320"/>
                    <a:gd name="connsiteY0" fmla="*/ 0 h 739368"/>
                    <a:gd name="connsiteX1" fmla="*/ 521386 w 577320"/>
                    <a:gd name="connsiteY1" fmla="*/ 611602 h 739368"/>
                    <a:gd name="connsiteX2" fmla="*/ 521386 w 577320"/>
                    <a:gd name="connsiteY2" fmla="*/ 0 h 739368"/>
                    <a:gd name="connsiteX3" fmla="*/ 577321 w 577320"/>
                    <a:gd name="connsiteY3" fmla="*/ 0 h 739368"/>
                    <a:gd name="connsiteX4" fmla="*/ 577321 w 577320"/>
                    <a:gd name="connsiteY4" fmla="*/ 739368 h 739368"/>
                    <a:gd name="connsiteX5" fmla="*/ 555156 w 577320"/>
                    <a:gd name="connsiteY5" fmla="*/ 739368 h 739368"/>
                    <a:gd name="connsiteX6" fmla="*/ 56980 w 577320"/>
                    <a:gd name="connsiteY6" fmla="*/ 128813 h 739368"/>
                    <a:gd name="connsiteX7" fmla="*/ 56980 w 577320"/>
                    <a:gd name="connsiteY7" fmla="*/ 739368 h 739368"/>
                    <a:gd name="connsiteX8" fmla="*/ 0 w 577320"/>
                    <a:gd name="connsiteY8" fmla="*/ 739368 h 739368"/>
                    <a:gd name="connsiteX9" fmla="*/ 0 w 577320"/>
                    <a:gd name="connsiteY9" fmla="*/ 0 h 739368"/>
                    <a:gd name="connsiteX10" fmla="*/ 24257 w 577320"/>
                    <a:gd name="connsiteY10" fmla="*/ 0 h 73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20" h="739368">
                      <a:moveTo>
                        <a:pt x="24257" y="0"/>
                      </a:moveTo>
                      <a:lnTo>
                        <a:pt x="521386" y="611602"/>
                      </a:lnTo>
                      <a:lnTo>
                        <a:pt x="521386" y="0"/>
                      </a:lnTo>
                      <a:lnTo>
                        <a:pt x="577321" y="0"/>
                      </a:lnTo>
                      <a:lnTo>
                        <a:pt x="577321" y="739368"/>
                      </a:lnTo>
                      <a:lnTo>
                        <a:pt x="555156" y="739368"/>
                      </a:lnTo>
                      <a:lnTo>
                        <a:pt x="56980" y="128813"/>
                      </a:lnTo>
                      <a:lnTo>
                        <a:pt x="56980" y="739368"/>
                      </a:lnTo>
                      <a:lnTo>
                        <a:pt x="0" y="739368"/>
                      </a:lnTo>
                      <a:lnTo>
                        <a:pt x="0" y="0"/>
                      </a:lnTo>
                      <a:lnTo>
                        <a:pt x="24257"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65" name="Freeform 89">
                  <a:extLst>
                    <a:ext uri="{FF2B5EF4-FFF2-40B4-BE49-F238E27FC236}">
                      <a16:creationId xmlns:a16="http://schemas.microsoft.com/office/drawing/2014/main" id="{3DF9220A-B5E1-AD34-DB7C-9130819E5C98}"/>
                    </a:ext>
                  </a:extLst>
                </p:cNvPr>
                <p:cNvSpPr/>
                <p:nvPr/>
              </p:nvSpPr>
              <p:spPr>
                <a:xfrm>
                  <a:off x="6030738" y="5426323"/>
                  <a:ext cx="659609" cy="759457"/>
                </a:xfrm>
                <a:custGeom>
                  <a:avLst/>
                  <a:gdLst>
                    <a:gd name="connsiteX0" fmla="*/ 618420 w 659609"/>
                    <a:gd name="connsiteY0" fmla="*/ 146713 h 759457"/>
                    <a:gd name="connsiteX1" fmla="*/ 380985 w 659609"/>
                    <a:gd name="connsiteY1" fmla="*/ 51697 h 759457"/>
                    <a:gd name="connsiteX2" fmla="*/ 54893 w 659609"/>
                    <a:gd name="connsiteY2" fmla="*/ 381300 h 759457"/>
                    <a:gd name="connsiteX3" fmla="*/ 380985 w 659609"/>
                    <a:gd name="connsiteY3" fmla="*/ 705571 h 759457"/>
                    <a:gd name="connsiteX4" fmla="*/ 605768 w 659609"/>
                    <a:gd name="connsiteY4" fmla="*/ 619980 h 759457"/>
                    <a:gd name="connsiteX5" fmla="*/ 605768 w 659609"/>
                    <a:gd name="connsiteY5" fmla="*/ 412908 h 759457"/>
                    <a:gd name="connsiteX6" fmla="*/ 348262 w 659609"/>
                    <a:gd name="connsiteY6" fmla="*/ 412908 h 759457"/>
                    <a:gd name="connsiteX7" fmla="*/ 348262 w 659609"/>
                    <a:gd name="connsiteY7" fmla="*/ 363306 h 759457"/>
                    <a:gd name="connsiteX8" fmla="*/ 659610 w 659609"/>
                    <a:gd name="connsiteY8" fmla="*/ 363306 h 759457"/>
                    <a:gd name="connsiteX9" fmla="*/ 659610 w 659609"/>
                    <a:gd name="connsiteY9" fmla="*/ 640069 h 759457"/>
                    <a:gd name="connsiteX10" fmla="*/ 380985 w 659609"/>
                    <a:gd name="connsiteY10" fmla="*/ 759457 h 759457"/>
                    <a:gd name="connsiteX11" fmla="*/ 5 w 659609"/>
                    <a:gd name="connsiteY11" fmla="*/ 382347 h 759457"/>
                    <a:gd name="connsiteX12" fmla="*/ 380985 w 659609"/>
                    <a:gd name="connsiteY12" fmla="*/ 0 h 759457"/>
                    <a:gd name="connsiteX13" fmla="*/ 651143 w 659609"/>
                    <a:gd name="connsiteY13" fmla="*/ 110915 h 759457"/>
                    <a:gd name="connsiteX14" fmla="*/ 618420 w 659609"/>
                    <a:gd name="connsiteY14" fmla="*/ 146713 h 7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9609" h="759457">
                      <a:moveTo>
                        <a:pt x="618420" y="146713"/>
                      </a:moveTo>
                      <a:cubicBezTo>
                        <a:pt x="554020" y="83305"/>
                        <a:pt x="464316" y="51697"/>
                        <a:pt x="380985" y="51697"/>
                      </a:cubicBezTo>
                      <a:cubicBezTo>
                        <a:pt x="164669" y="51697"/>
                        <a:pt x="53846" y="210119"/>
                        <a:pt x="54893" y="381300"/>
                      </a:cubicBezTo>
                      <a:cubicBezTo>
                        <a:pt x="54893" y="555622"/>
                        <a:pt x="165715" y="705571"/>
                        <a:pt x="380985" y="705571"/>
                      </a:cubicBezTo>
                      <a:cubicBezTo>
                        <a:pt x="460130" y="705571"/>
                        <a:pt x="542414" y="678152"/>
                        <a:pt x="605768" y="619980"/>
                      </a:cubicBezTo>
                      <a:lnTo>
                        <a:pt x="605768" y="412908"/>
                      </a:lnTo>
                      <a:lnTo>
                        <a:pt x="348262" y="412908"/>
                      </a:lnTo>
                      <a:lnTo>
                        <a:pt x="348262" y="363306"/>
                      </a:lnTo>
                      <a:lnTo>
                        <a:pt x="659610" y="363306"/>
                      </a:lnTo>
                      <a:lnTo>
                        <a:pt x="659610" y="640069"/>
                      </a:lnTo>
                      <a:cubicBezTo>
                        <a:pt x="582558" y="717186"/>
                        <a:pt x="490761" y="759457"/>
                        <a:pt x="380985" y="759457"/>
                      </a:cubicBezTo>
                      <a:cubicBezTo>
                        <a:pt x="129757" y="759457"/>
                        <a:pt x="5" y="584088"/>
                        <a:pt x="5" y="382347"/>
                      </a:cubicBezTo>
                      <a:cubicBezTo>
                        <a:pt x="-1041" y="150997"/>
                        <a:pt x="156202" y="0"/>
                        <a:pt x="380985" y="0"/>
                      </a:cubicBezTo>
                      <a:cubicBezTo>
                        <a:pt x="478109" y="0"/>
                        <a:pt x="576279" y="36940"/>
                        <a:pt x="651143" y="110915"/>
                      </a:cubicBezTo>
                      <a:lnTo>
                        <a:pt x="618420" y="146713"/>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54" name="Graphic 2">
                <a:extLst>
                  <a:ext uri="{FF2B5EF4-FFF2-40B4-BE49-F238E27FC236}">
                    <a16:creationId xmlns:a16="http://schemas.microsoft.com/office/drawing/2014/main" id="{F280CACE-BE89-F85B-1955-F4A0D52080B9}"/>
                  </a:ext>
                </a:extLst>
              </p:cNvPr>
              <p:cNvGrpSpPr/>
              <p:nvPr/>
            </p:nvGrpSpPr>
            <p:grpSpPr>
              <a:xfrm>
                <a:off x="6870802" y="5410804"/>
                <a:ext cx="2164690" cy="771262"/>
                <a:chOff x="6870802" y="5410804"/>
                <a:chExt cx="2164690" cy="771262"/>
              </a:xfrm>
              <a:solidFill>
                <a:srgbClr val="00A099"/>
              </a:solidFill>
            </p:grpSpPr>
            <p:sp>
              <p:nvSpPr>
                <p:cNvPr id="55" name="Freeform 80">
                  <a:extLst>
                    <a:ext uri="{FF2B5EF4-FFF2-40B4-BE49-F238E27FC236}">
                      <a16:creationId xmlns:a16="http://schemas.microsoft.com/office/drawing/2014/main" id="{2DC2F27F-C2DB-ED89-7449-EF23C4D44F11}"/>
                    </a:ext>
                  </a:extLst>
                </p:cNvPr>
                <p:cNvSpPr/>
                <p:nvPr/>
              </p:nvSpPr>
              <p:spPr>
                <a:xfrm>
                  <a:off x="6870802" y="5410804"/>
                  <a:ext cx="758943" cy="771262"/>
                </a:xfrm>
                <a:custGeom>
                  <a:avLst/>
                  <a:gdLst>
                    <a:gd name="connsiteX0" fmla="*/ 758916 w 758943"/>
                    <a:gd name="connsiteY0" fmla="*/ 388821 h 771262"/>
                    <a:gd name="connsiteX1" fmla="*/ 379934 w 758943"/>
                    <a:gd name="connsiteY1" fmla="*/ 771263 h 771262"/>
                    <a:gd name="connsiteX2" fmla="*/ 0 w 758943"/>
                    <a:gd name="connsiteY2" fmla="*/ 389868 h 771262"/>
                    <a:gd name="connsiteX3" fmla="*/ 379934 w 758943"/>
                    <a:gd name="connsiteY3" fmla="*/ 0 h 771262"/>
                    <a:gd name="connsiteX4" fmla="*/ 758916 w 758943"/>
                    <a:gd name="connsiteY4" fmla="*/ 388821 h 771262"/>
                    <a:gd name="connsiteX5" fmla="*/ 137267 w 758943"/>
                    <a:gd name="connsiteY5" fmla="*/ 392058 h 771262"/>
                    <a:gd name="connsiteX6" fmla="*/ 380029 w 758943"/>
                    <a:gd name="connsiteY6" fmla="*/ 643497 h 771262"/>
                    <a:gd name="connsiteX7" fmla="*/ 621744 w 758943"/>
                    <a:gd name="connsiteY7" fmla="*/ 391010 h 771262"/>
                    <a:gd name="connsiteX8" fmla="*/ 380029 w 758943"/>
                    <a:gd name="connsiteY8" fmla="*/ 126910 h 771262"/>
                    <a:gd name="connsiteX9" fmla="*/ 137267 w 758943"/>
                    <a:gd name="connsiteY9" fmla="*/ 392058 h 77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943" h="771262">
                      <a:moveTo>
                        <a:pt x="758916" y="388821"/>
                      </a:moveTo>
                      <a:cubicBezTo>
                        <a:pt x="756824" y="579994"/>
                        <a:pt x="639628" y="771263"/>
                        <a:pt x="379934" y="771263"/>
                      </a:cubicBezTo>
                      <a:cubicBezTo>
                        <a:pt x="120239" y="771263"/>
                        <a:pt x="0" y="584279"/>
                        <a:pt x="0" y="389868"/>
                      </a:cubicBezTo>
                      <a:cubicBezTo>
                        <a:pt x="0" y="195458"/>
                        <a:pt x="124520" y="0"/>
                        <a:pt x="379934" y="0"/>
                      </a:cubicBezTo>
                      <a:cubicBezTo>
                        <a:pt x="634396" y="95"/>
                        <a:pt x="761104" y="195553"/>
                        <a:pt x="758916" y="388821"/>
                      </a:cubicBezTo>
                      <a:close/>
                      <a:moveTo>
                        <a:pt x="137267" y="392058"/>
                      </a:moveTo>
                      <a:cubicBezTo>
                        <a:pt x="140406" y="513540"/>
                        <a:pt x="205853" y="643497"/>
                        <a:pt x="380029" y="643497"/>
                      </a:cubicBezTo>
                      <a:cubicBezTo>
                        <a:pt x="554205" y="643497"/>
                        <a:pt x="619652" y="512493"/>
                        <a:pt x="621744" y="391010"/>
                      </a:cubicBezTo>
                      <a:cubicBezTo>
                        <a:pt x="623837" y="266291"/>
                        <a:pt x="554205" y="126910"/>
                        <a:pt x="380029" y="126910"/>
                      </a:cubicBezTo>
                      <a:cubicBezTo>
                        <a:pt x="205758" y="126910"/>
                        <a:pt x="134033" y="267338"/>
                        <a:pt x="137267" y="392058"/>
                      </a:cubicBez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7" name="Freeform 81">
                  <a:extLst>
                    <a:ext uri="{FF2B5EF4-FFF2-40B4-BE49-F238E27FC236}">
                      <a16:creationId xmlns:a16="http://schemas.microsoft.com/office/drawing/2014/main" id="{2BF449EA-B65D-AD83-3C95-3FF01CBB7FC3}"/>
                    </a:ext>
                  </a:extLst>
                </p:cNvPr>
                <p:cNvSpPr/>
                <p:nvPr/>
              </p:nvSpPr>
              <p:spPr>
                <a:xfrm>
                  <a:off x="7742443" y="5424609"/>
                  <a:ext cx="614419" cy="741653"/>
                </a:xfrm>
                <a:custGeom>
                  <a:avLst/>
                  <a:gdLst>
                    <a:gd name="connsiteX0" fmla="*/ 475060 w 614419"/>
                    <a:gd name="connsiteY0" fmla="*/ 0 h 741653"/>
                    <a:gd name="connsiteX1" fmla="*/ 614419 w 614419"/>
                    <a:gd name="connsiteY1" fmla="*/ 0 h 741653"/>
                    <a:gd name="connsiteX2" fmla="*/ 614419 w 614419"/>
                    <a:gd name="connsiteY2" fmla="*/ 740607 h 741653"/>
                    <a:gd name="connsiteX3" fmla="*/ 527855 w 614419"/>
                    <a:gd name="connsiteY3" fmla="*/ 740607 h 741653"/>
                    <a:gd name="connsiteX4" fmla="*/ 527855 w 614419"/>
                    <a:gd name="connsiteY4" fmla="*/ 741654 h 741653"/>
                    <a:gd name="connsiteX5" fmla="*/ 139359 w 614419"/>
                    <a:gd name="connsiteY5" fmla="*/ 241918 h 741653"/>
                    <a:gd name="connsiteX6" fmla="*/ 139359 w 614419"/>
                    <a:gd name="connsiteY6" fmla="*/ 740607 h 741653"/>
                    <a:gd name="connsiteX7" fmla="*/ 0 w 614419"/>
                    <a:gd name="connsiteY7" fmla="*/ 740607 h 741653"/>
                    <a:gd name="connsiteX8" fmla="*/ 0 w 614419"/>
                    <a:gd name="connsiteY8" fmla="*/ 1047 h 741653"/>
                    <a:gd name="connsiteX9" fmla="*/ 113010 w 614419"/>
                    <a:gd name="connsiteY9" fmla="*/ 1047 h 741653"/>
                    <a:gd name="connsiteX10" fmla="*/ 475060 w 614419"/>
                    <a:gd name="connsiteY10" fmla="*/ 459559 h 741653"/>
                    <a:gd name="connsiteX11" fmla="*/ 475060 w 614419"/>
                    <a:gd name="connsiteY11" fmla="*/ 0 h 74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419" h="741653">
                      <a:moveTo>
                        <a:pt x="475060" y="0"/>
                      </a:moveTo>
                      <a:lnTo>
                        <a:pt x="614419" y="0"/>
                      </a:lnTo>
                      <a:lnTo>
                        <a:pt x="614419" y="740607"/>
                      </a:lnTo>
                      <a:lnTo>
                        <a:pt x="527855" y="740607"/>
                      </a:lnTo>
                      <a:lnTo>
                        <a:pt x="527855" y="741654"/>
                      </a:lnTo>
                      <a:lnTo>
                        <a:pt x="139359" y="241918"/>
                      </a:lnTo>
                      <a:lnTo>
                        <a:pt x="139359" y="740607"/>
                      </a:lnTo>
                      <a:lnTo>
                        <a:pt x="0" y="740607"/>
                      </a:lnTo>
                      <a:lnTo>
                        <a:pt x="0" y="1047"/>
                      </a:lnTo>
                      <a:lnTo>
                        <a:pt x="113010" y="1047"/>
                      </a:lnTo>
                      <a:lnTo>
                        <a:pt x="475060" y="459559"/>
                      </a:lnTo>
                      <a:lnTo>
                        <a:pt x="475060" y="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8" name="Freeform 82">
                  <a:extLst>
                    <a:ext uri="{FF2B5EF4-FFF2-40B4-BE49-F238E27FC236}">
                      <a16:creationId xmlns:a16="http://schemas.microsoft.com/office/drawing/2014/main" id="{43D1DAC0-9949-B84F-899A-BC9C2591CAA1}"/>
                    </a:ext>
                  </a:extLst>
                </p:cNvPr>
                <p:cNvSpPr/>
                <p:nvPr/>
              </p:nvSpPr>
              <p:spPr>
                <a:xfrm>
                  <a:off x="8482429" y="5425656"/>
                  <a:ext cx="553063" cy="739559"/>
                </a:xfrm>
                <a:custGeom>
                  <a:avLst/>
                  <a:gdLst>
                    <a:gd name="connsiteX0" fmla="*/ 553064 w 553063"/>
                    <a:gd name="connsiteY0" fmla="*/ 739560 h 739559"/>
                    <a:gd name="connsiteX1" fmla="*/ 0 w 553063"/>
                    <a:gd name="connsiteY1" fmla="*/ 739560 h 739559"/>
                    <a:gd name="connsiteX2" fmla="*/ 0 w 553063"/>
                    <a:gd name="connsiteY2" fmla="*/ 0 h 739559"/>
                    <a:gd name="connsiteX3" fmla="*/ 553064 w 553063"/>
                    <a:gd name="connsiteY3" fmla="*/ 0 h 739559"/>
                    <a:gd name="connsiteX4" fmla="*/ 553064 w 553063"/>
                    <a:gd name="connsiteY4" fmla="*/ 135288 h 739559"/>
                    <a:gd name="connsiteX5" fmla="*/ 138219 w 553063"/>
                    <a:gd name="connsiteY5" fmla="*/ 135288 h 739559"/>
                    <a:gd name="connsiteX6" fmla="*/ 138219 w 553063"/>
                    <a:gd name="connsiteY6" fmla="*/ 305325 h 739559"/>
                    <a:gd name="connsiteX7" fmla="*/ 538224 w 553063"/>
                    <a:gd name="connsiteY7" fmla="*/ 305325 h 739559"/>
                    <a:gd name="connsiteX8" fmla="*/ 538224 w 553063"/>
                    <a:gd name="connsiteY8" fmla="*/ 435281 h 739559"/>
                    <a:gd name="connsiteX9" fmla="*/ 138219 w 553063"/>
                    <a:gd name="connsiteY9" fmla="*/ 435281 h 739559"/>
                    <a:gd name="connsiteX10" fmla="*/ 138219 w 553063"/>
                    <a:gd name="connsiteY10" fmla="*/ 602177 h 739559"/>
                    <a:gd name="connsiteX11" fmla="*/ 553064 w 553063"/>
                    <a:gd name="connsiteY11" fmla="*/ 602177 h 739559"/>
                    <a:gd name="connsiteX12" fmla="*/ 553064 w 553063"/>
                    <a:gd name="connsiteY12" fmla="*/ 739560 h 73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63" h="739559">
                      <a:moveTo>
                        <a:pt x="553064" y="739560"/>
                      </a:moveTo>
                      <a:lnTo>
                        <a:pt x="0" y="739560"/>
                      </a:lnTo>
                      <a:cubicBezTo>
                        <a:pt x="0" y="493452"/>
                        <a:pt x="0" y="246203"/>
                        <a:pt x="0" y="0"/>
                      </a:cubicBezTo>
                      <a:lnTo>
                        <a:pt x="553064" y="0"/>
                      </a:lnTo>
                      <a:lnTo>
                        <a:pt x="553064" y="135288"/>
                      </a:lnTo>
                      <a:lnTo>
                        <a:pt x="138219" y="135288"/>
                      </a:lnTo>
                      <a:lnTo>
                        <a:pt x="138219" y="305325"/>
                      </a:lnTo>
                      <a:lnTo>
                        <a:pt x="538224" y="305325"/>
                      </a:lnTo>
                      <a:lnTo>
                        <a:pt x="538224" y="435281"/>
                      </a:lnTo>
                      <a:lnTo>
                        <a:pt x="138219" y="435281"/>
                      </a:lnTo>
                      <a:lnTo>
                        <a:pt x="138219" y="602177"/>
                      </a:lnTo>
                      <a:lnTo>
                        <a:pt x="553064" y="602177"/>
                      </a:lnTo>
                      <a:lnTo>
                        <a:pt x="553064" y="739560"/>
                      </a:lnTo>
                      <a:close/>
                    </a:path>
                  </a:pathLst>
                </a:custGeom>
                <a:solidFill>
                  <a:srgbClr val="00A099"/>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grpSp>
          <p:nvGrpSpPr>
            <p:cNvPr id="9" name="Graphic 2">
              <a:extLst>
                <a:ext uri="{FF2B5EF4-FFF2-40B4-BE49-F238E27FC236}">
                  <a16:creationId xmlns:a16="http://schemas.microsoft.com/office/drawing/2014/main" id="{852E27DF-DB44-7985-3873-84CB3A827634}"/>
                </a:ext>
              </a:extLst>
            </p:cNvPr>
            <p:cNvGrpSpPr/>
            <p:nvPr/>
          </p:nvGrpSpPr>
          <p:grpSpPr>
            <a:xfrm>
              <a:off x="2716311" y="648027"/>
              <a:ext cx="2950814" cy="4756864"/>
              <a:chOff x="4425584" y="267785"/>
              <a:chExt cx="2950814" cy="4756864"/>
            </a:xfrm>
            <a:solidFill>
              <a:schemeClr val="accent1"/>
            </a:solidFill>
          </p:grpSpPr>
          <p:grpSp>
            <p:nvGrpSpPr>
              <p:cNvPr id="13" name="Graphic 2">
                <a:extLst>
                  <a:ext uri="{FF2B5EF4-FFF2-40B4-BE49-F238E27FC236}">
                    <a16:creationId xmlns:a16="http://schemas.microsoft.com/office/drawing/2014/main" id="{19629D24-603A-ACED-7BD1-E837DCC60D08}"/>
                  </a:ext>
                </a:extLst>
              </p:cNvPr>
              <p:cNvGrpSpPr/>
              <p:nvPr/>
            </p:nvGrpSpPr>
            <p:grpSpPr>
              <a:xfrm>
                <a:off x="5720269" y="2764575"/>
                <a:ext cx="1656129" cy="1882392"/>
                <a:chOff x="5720269" y="2764575"/>
                <a:chExt cx="1656129" cy="1882392"/>
              </a:xfrm>
              <a:solidFill>
                <a:schemeClr val="accent1"/>
              </a:solidFill>
            </p:grpSpPr>
            <p:grpSp>
              <p:nvGrpSpPr>
                <p:cNvPr id="46" name="Graphic 2">
                  <a:extLst>
                    <a:ext uri="{FF2B5EF4-FFF2-40B4-BE49-F238E27FC236}">
                      <a16:creationId xmlns:a16="http://schemas.microsoft.com/office/drawing/2014/main" id="{CA9F3B9B-8E9F-6B81-20DA-2196AB3044E3}"/>
                    </a:ext>
                  </a:extLst>
                </p:cNvPr>
                <p:cNvGrpSpPr/>
                <p:nvPr/>
              </p:nvGrpSpPr>
              <p:grpSpPr>
                <a:xfrm>
                  <a:off x="5720269" y="2764575"/>
                  <a:ext cx="1656129" cy="1882392"/>
                  <a:chOff x="5720269" y="2764575"/>
                  <a:chExt cx="1656129" cy="1882392"/>
                </a:xfrm>
                <a:solidFill>
                  <a:srgbClr val="00A099"/>
                </a:solidFill>
              </p:grpSpPr>
              <p:sp>
                <p:nvSpPr>
                  <p:cNvPr id="50" name="Freeform 75">
                    <a:extLst>
                      <a:ext uri="{FF2B5EF4-FFF2-40B4-BE49-F238E27FC236}">
                        <a16:creationId xmlns:a16="http://schemas.microsoft.com/office/drawing/2014/main" id="{A7828B01-0152-EB4F-B916-9B852E02C7C0}"/>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1" name="Freeform 76">
                    <a:extLst>
                      <a:ext uri="{FF2B5EF4-FFF2-40B4-BE49-F238E27FC236}">
                        <a16:creationId xmlns:a16="http://schemas.microsoft.com/office/drawing/2014/main" id="{76A01C09-02B3-93CE-1E46-DFFBF19F374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52" name="Freeform 77">
                    <a:extLst>
                      <a:ext uri="{FF2B5EF4-FFF2-40B4-BE49-F238E27FC236}">
                        <a16:creationId xmlns:a16="http://schemas.microsoft.com/office/drawing/2014/main" id="{1EA6C6FB-8FD9-258A-1A58-0FB83E58C5D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7" name="Freeform 72">
                  <a:extLst>
                    <a:ext uri="{FF2B5EF4-FFF2-40B4-BE49-F238E27FC236}">
                      <a16:creationId xmlns:a16="http://schemas.microsoft.com/office/drawing/2014/main" id="{0D67CA34-ECD5-B4BF-CF82-D897690FD62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8" name="Freeform 73">
                  <a:extLst>
                    <a:ext uri="{FF2B5EF4-FFF2-40B4-BE49-F238E27FC236}">
                      <a16:creationId xmlns:a16="http://schemas.microsoft.com/office/drawing/2014/main" id="{690B2A34-6CED-01F4-522C-004E37ED348B}"/>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9" name="Freeform 74">
                  <a:extLst>
                    <a:ext uri="{FF2B5EF4-FFF2-40B4-BE49-F238E27FC236}">
                      <a16:creationId xmlns:a16="http://schemas.microsoft.com/office/drawing/2014/main" id="{C29839DB-EC63-65E8-3891-EDDCDB3B62F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4" name="Freeform 69">
                <a:extLst>
                  <a:ext uri="{FF2B5EF4-FFF2-40B4-BE49-F238E27FC236}">
                    <a16:creationId xmlns:a16="http://schemas.microsoft.com/office/drawing/2014/main" id="{EF9D19FB-0661-C6C0-DEBE-172A53A7C53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45" name="Freeform 70">
                <a:extLst>
                  <a:ext uri="{FF2B5EF4-FFF2-40B4-BE49-F238E27FC236}">
                    <a16:creationId xmlns:a16="http://schemas.microsoft.com/office/drawing/2014/main" id="{78BC715C-D744-9138-A112-5F54D12707C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grpSp>
          <p:nvGrpSpPr>
            <p:cNvPr id="10" name="Graphic 2">
              <a:extLst>
                <a:ext uri="{FF2B5EF4-FFF2-40B4-BE49-F238E27FC236}">
                  <a16:creationId xmlns:a16="http://schemas.microsoft.com/office/drawing/2014/main" id="{131E3A75-BE0B-0357-69FC-67D02AD55D0F}"/>
                </a:ext>
              </a:extLst>
            </p:cNvPr>
            <p:cNvGrpSpPr/>
            <p:nvPr/>
          </p:nvGrpSpPr>
          <p:grpSpPr>
            <a:xfrm>
              <a:off x="9002626" y="5508867"/>
              <a:ext cx="473062" cy="244679"/>
              <a:chOff x="9052805" y="5306649"/>
              <a:chExt cx="473062" cy="244679"/>
            </a:xfrm>
            <a:solidFill>
              <a:schemeClr val="accent4"/>
            </a:solidFill>
          </p:grpSpPr>
          <p:sp>
            <p:nvSpPr>
              <p:cNvPr id="11" name="Freeform 66">
                <a:extLst>
                  <a:ext uri="{FF2B5EF4-FFF2-40B4-BE49-F238E27FC236}">
                    <a16:creationId xmlns:a16="http://schemas.microsoft.com/office/drawing/2014/main" id="{CF5736FD-BF88-159C-C7F1-114E1942B862}"/>
                  </a:ext>
                </a:extLst>
              </p:cNvPr>
              <p:cNvSpPr/>
              <p:nvPr/>
            </p:nvSpPr>
            <p:spPr>
              <a:xfrm>
                <a:off x="9052805" y="5306649"/>
                <a:ext cx="183783" cy="244679"/>
              </a:xfrm>
              <a:custGeom>
                <a:avLst/>
                <a:gdLst>
                  <a:gd name="connsiteX0" fmla="*/ 111868 w 183783"/>
                  <a:gd name="connsiteY0" fmla="*/ 244679 h 244679"/>
                  <a:gd name="connsiteX1" fmla="*/ 71915 w 183783"/>
                  <a:gd name="connsiteY1" fmla="*/ 244679 h 244679"/>
                  <a:gd name="connsiteX2" fmla="*/ 71915 w 183783"/>
                  <a:gd name="connsiteY2" fmla="*/ 34274 h 244679"/>
                  <a:gd name="connsiteX3" fmla="*/ 0 w 183783"/>
                  <a:gd name="connsiteY3" fmla="*/ 34274 h 244679"/>
                  <a:gd name="connsiteX4" fmla="*/ 0 w 183783"/>
                  <a:gd name="connsiteY4" fmla="*/ 0 h 244679"/>
                  <a:gd name="connsiteX5" fmla="*/ 183784 w 183783"/>
                  <a:gd name="connsiteY5" fmla="*/ 0 h 244679"/>
                  <a:gd name="connsiteX6" fmla="*/ 183784 w 183783"/>
                  <a:gd name="connsiteY6" fmla="*/ 34274 h 244679"/>
                  <a:gd name="connsiteX7" fmla="*/ 111868 w 183783"/>
                  <a:gd name="connsiteY7" fmla="*/ 34274 h 244679"/>
                  <a:gd name="connsiteX8" fmla="*/ 111868 w 183783"/>
                  <a:gd name="connsiteY8"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783" h="244679">
                    <a:moveTo>
                      <a:pt x="111868" y="244679"/>
                    </a:moveTo>
                    <a:lnTo>
                      <a:pt x="71915" y="244679"/>
                    </a:lnTo>
                    <a:lnTo>
                      <a:pt x="71915" y="34274"/>
                    </a:lnTo>
                    <a:lnTo>
                      <a:pt x="0" y="34274"/>
                    </a:lnTo>
                    <a:lnTo>
                      <a:pt x="0" y="0"/>
                    </a:lnTo>
                    <a:lnTo>
                      <a:pt x="183784" y="0"/>
                    </a:lnTo>
                    <a:lnTo>
                      <a:pt x="183784" y="34274"/>
                    </a:lnTo>
                    <a:lnTo>
                      <a:pt x="111868" y="34274"/>
                    </a:lnTo>
                    <a:lnTo>
                      <a:pt x="111868"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67">
                <a:extLst>
                  <a:ext uri="{FF2B5EF4-FFF2-40B4-BE49-F238E27FC236}">
                    <a16:creationId xmlns:a16="http://schemas.microsoft.com/office/drawing/2014/main" id="{AD971A67-1E4D-3FF2-92D6-03C7F2EC9F64}"/>
                  </a:ext>
                </a:extLst>
              </p:cNvPr>
              <p:cNvSpPr/>
              <p:nvPr/>
            </p:nvSpPr>
            <p:spPr>
              <a:xfrm>
                <a:off x="9274164" y="5306649"/>
                <a:ext cx="251703" cy="244679"/>
              </a:xfrm>
              <a:custGeom>
                <a:avLst/>
                <a:gdLst>
                  <a:gd name="connsiteX0" fmla="*/ 105590 w 251703"/>
                  <a:gd name="connsiteY0" fmla="*/ 244679 h 244679"/>
                  <a:gd name="connsiteX1" fmla="*/ 34721 w 251703"/>
                  <a:gd name="connsiteY1" fmla="*/ 40368 h 244679"/>
                  <a:gd name="connsiteX2" fmla="*/ 33389 w 251703"/>
                  <a:gd name="connsiteY2" fmla="*/ 40368 h 244679"/>
                  <a:gd name="connsiteX3" fmla="*/ 36243 w 251703"/>
                  <a:gd name="connsiteY3" fmla="*/ 125672 h 244679"/>
                  <a:gd name="connsiteX4" fmla="*/ 36243 w 251703"/>
                  <a:gd name="connsiteY4" fmla="*/ 244679 h 244679"/>
                  <a:gd name="connsiteX5" fmla="*/ 0 w 251703"/>
                  <a:gd name="connsiteY5" fmla="*/ 244679 h 244679"/>
                  <a:gd name="connsiteX6" fmla="*/ 0 w 251703"/>
                  <a:gd name="connsiteY6" fmla="*/ 0 h 244679"/>
                  <a:gd name="connsiteX7" fmla="*/ 56315 w 251703"/>
                  <a:gd name="connsiteY7" fmla="*/ 0 h 244679"/>
                  <a:gd name="connsiteX8" fmla="*/ 124235 w 251703"/>
                  <a:gd name="connsiteY8" fmla="*/ 194601 h 244679"/>
                  <a:gd name="connsiteX9" fmla="*/ 125282 w 251703"/>
                  <a:gd name="connsiteY9" fmla="*/ 194601 h 244679"/>
                  <a:gd name="connsiteX10" fmla="*/ 195199 w 251703"/>
                  <a:gd name="connsiteY10" fmla="*/ 0 h 244679"/>
                  <a:gd name="connsiteX11" fmla="*/ 251704 w 251703"/>
                  <a:gd name="connsiteY11" fmla="*/ 0 h 244679"/>
                  <a:gd name="connsiteX12" fmla="*/ 251704 w 251703"/>
                  <a:gd name="connsiteY12" fmla="*/ 244679 h 244679"/>
                  <a:gd name="connsiteX13" fmla="*/ 213083 w 251703"/>
                  <a:gd name="connsiteY13" fmla="*/ 244679 h 244679"/>
                  <a:gd name="connsiteX14" fmla="*/ 213083 w 251703"/>
                  <a:gd name="connsiteY14" fmla="*/ 123673 h 244679"/>
                  <a:gd name="connsiteX15" fmla="*/ 214034 w 251703"/>
                  <a:gd name="connsiteY15" fmla="*/ 76165 h 244679"/>
                  <a:gd name="connsiteX16" fmla="*/ 215651 w 251703"/>
                  <a:gd name="connsiteY16" fmla="*/ 40653 h 244679"/>
                  <a:gd name="connsiteX17" fmla="*/ 214319 w 251703"/>
                  <a:gd name="connsiteY17" fmla="*/ 40653 h 244679"/>
                  <a:gd name="connsiteX18" fmla="*/ 140882 w 251703"/>
                  <a:gd name="connsiteY18" fmla="*/ 244679 h 244679"/>
                  <a:gd name="connsiteX19" fmla="*/ 105590 w 251703"/>
                  <a:gd name="connsiteY19" fmla="*/ 244679 h 24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703" h="244679">
                    <a:moveTo>
                      <a:pt x="105590" y="244679"/>
                    </a:moveTo>
                    <a:lnTo>
                      <a:pt x="34721" y="40368"/>
                    </a:lnTo>
                    <a:lnTo>
                      <a:pt x="33389" y="40368"/>
                    </a:lnTo>
                    <a:cubicBezTo>
                      <a:pt x="35292" y="70738"/>
                      <a:pt x="36243" y="99205"/>
                      <a:pt x="36243" y="125672"/>
                    </a:cubicBezTo>
                    <a:lnTo>
                      <a:pt x="36243" y="244679"/>
                    </a:lnTo>
                    <a:lnTo>
                      <a:pt x="0" y="244679"/>
                    </a:lnTo>
                    <a:lnTo>
                      <a:pt x="0" y="0"/>
                    </a:lnTo>
                    <a:lnTo>
                      <a:pt x="56315" y="0"/>
                    </a:lnTo>
                    <a:lnTo>
                      <a:pt x="124235" y="194601"/>
                    </a:lnTo>
                    <a:lnTo>
                      <a:pt x="125282" y="194601"/>
                    </a:lnTo>
                    <a:lnTo>
                      <a:pt x="195199" y="0"/>
                    </a:lnTo>
                    <a:lnTo>
                      <a:pt x="251704" y="0"/>
                    </a:lnTo>
                    <a:lnTo>
                      <a:pt x="251704" y="244679"/>
                    </a:lnTo>
                    <a:lnTo>
                      <a:pt x="213083" y="244679"/>
                    </a:lnTo>
                    <a:lnTo>
                      <a:pt x="213083" y="123673"/>
                    </a:lnTo>
                    <a:cubicBezTo>
                      <a:pt x="213083" y="111486"/>
                      <a:pt x="213368" y="95682"/>
                      <a:pt x="214034" y="76165"/>
                    </a:cubicBezTo>
                    <a:cubicBezTo>
                      <a:pt x="214605" y="56648"/>
                      <a:pt x="215175" y="44842"/>
                      <a:pt x="215651" y="40653"/>
                    </a:cubicBezTo>
                    <a:lnTo>
                      <a:pt x="214319" y="40653"/>
                    </a:lnTo>
                    <a:lnTo>
                      <a:pt x="140882" y="244679"/>
                    </a:lnTo>
                    <a:lnTo>
                      <a:pt x="105590" y="244679"/>
                    </a:lnTo>
                    <a:close/>
                  </a:path>
                </a:pathLst>
              </a:custGeom>
              <a:solidFill>
                <a:schemeClr val="bg1"/>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exa Book" panose="00000400000000000000" pitchFamily="50" charset="0"/>
                  <a:ea typeface="+mn-ea"/>
                  <a:cs typeface="+mn-cs"/>
                </a:endParaRPr>
              </a:p>
            </p:txBody>
          </p:sp>
        </p:grpSp>
      </p:grpSp>
    </p:spTree>
    <p:extLst>
      <p:ext uri="{BB962C8B-B14F-4D97-AF65-F5344CB8AC3E}">
        <p14:creationId xmlns:p14="http://schemas.microsoft.com/office/powerpoint/2010/main" val="272773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29431006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B3F0EF55-C092-758F-6D82-988CE89293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12" name="Picture 11">
            <a:extLst>
              <a:ext uri="{FF2B5EF4-FFF2-40B4-BE49-F238E27FC236}">
                <a16:creationId xmlns:a16="http://schemas.microsoft.com/office/drawing/2014/main" id="{533F1119-4CF8-6152-40E1-35C2E16EBF12}"/>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r="-173"/>
          <a:stretch/>
        </p:blipFill>
        <p:spPr>
          <a:xfrm>
            <a:off x="5765648" y="1"/>
            <a:ext cx="3383157" cy="5142476"/>
          </a:xfrm>
          <a:custGeom>
            <a:avLst/>
            <a:gdLst>
              <a:gd name="connsiteX0" fmla="*/ 1106060 w 4510876"/>
              <a:gd name="connsiteY0" fmla="*/ 0 h 6852540"/>
              <a:gd name="connsiteX1" fmla="*/ 4510876 w 4510876"/>
              <a:gd name="connsiteY1" fmla="*/ 0 h 6852540"/>
              <a:gd name="connsiteX2" fmla="*/ 4510876 w 4510876"/>
              <a:gd name="connsiteY2" fmla="*/ 6852540 h 6852540"/>
              <a:gd name="connsiteX3" fmla="*/ 0 w 4510876"/>
              <a:gd name="connsiteY3" fmla="*/ 6852540 h 6852540"/>
              <a:gd name="connsiteX4" fmla="*/ 166006 w 4510876"/>
              <a:gd name="connsiteY4" fmla="*/ 5824052 h 6852540"/>
              <a:gd name="connsiteX5" fmla="*/ 924186 w 4510876"/>
              <a:gd name="connsiteY5" fmla="*/ 5824052 h 6852540"/>
              <a:gd name="connsiteX6" fmla="*/ 924186 w 4510876"/>
              <a:gd name="connsiteY6" fmla="*/ 5824051 h 6852540"/>
              <a:gd name="connsiteX7" fmla="*/ 166006 w 4510876"/>
              <a:gd name="connsiteY7" fmla="*/ 5824051 h 6852540"/>
              <a:gd name="connsiteX8" fmla="*/ 1106059 w 4510876"/>
              <a:gd name="connsiteY8" fmla="*/ 2 h 6852540"/>
              <a:gd name="connsiteX9" fmla="*/ 1633976 w 4510876"/>
              <a:gd name="connsiteY9" fmla="*/ 2 h 6852540"/>
              <a:gd name="connsiteX10" fmla="*/ 1696535 w 4510876"/>
              <a:gd name="connsiteY10" fmla="*/ 8479 h 6852540"/>
              <a:gd name="connsiteX11" fmla="*/ 1696535 w 4510876"/>
              <a:gd name="connsiteY11" fmla="*/ 8478 h 6852540"/>
              <a:gd name="connsiteX12" fmla="*/ 1633976 w 4510876"/>
              <a:gd name="connsiteY12" fmla="*/ 1 h 6852540"/>
              <a:gd name="connsiteX13" fmla="*/ 1106059 w 4510876"/>
              <a:gd name="connsiteY13" fmla="*/ 1 h 685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0876" h="6852540">
                <a:moveTo>
                  <a:pt x="1106060" y="0"/>
                </a:moveTo>
                <a:lnTo>
                  <a:pt x="4510876" y="0"/>
                </a:lnTo>
                <a:lnTo>
                  <a:pt x="4510876" y="6852540"/>
                </a:lnTo>
                <a:lnTo>
                  <a:pt x="0" y="6852540"/>
                </a:lnTo>
                <a:lnTo>
                  <a:pt x="166006" y="5824052"/>
                </a:lnTo>
                <a:lnTo>
                  <a:pt x="924186" y="5824052"/>
                </a:lnTo>
                <a:lnTo>
                  <a:pt x="924186" y="5824051"/>
                </a:lnTo>
                <a:lnTo>
                  <a:pt x="166006" y="5824051"/>
                </a:lnTo>
                <a:lnTo>
                  <a:pt x="1106059" y="2"/>
                </a:lnTo>
                <a:lnTo>
                  <a:pt x="1633976" y="2"/>
                </a:lnTo>
                <a:lnTo>
                  <a:pt x="1696535" y="8479"/>
                </a:lnTo>
                <a:lnTo>
                  <a:pt x="1696535" y="8478"/>
                </a:lnTo>
                <a:lnTo>
                  <a:pt x="1633976" y="1"/>
                </a:lnTo>
                <a:lnTo>
                  <a:pt x="1106059"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71651"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420AA29-6925-0E75-DE4F-A5A616C94784}"/>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C9D8BEF9-9DBE-8FFC-8289-14C491245EBC}"/>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21AD1B06-0F25-3DC0-8526-59F58BDC5D6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79E325DC-6730-7E23-0246-28AB11E344A6}"/>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7F51C4D8-905E-8172-A517-7449054E613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4971D66-E563-74ED-ED65-B08F2EEFBF9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1AACB546-8E11-EEAF-C0D5-1D2389009E42}"/>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FF81A8C1-1CBE-EE9E-8411-BD0B7340247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874C1FF-2BEA-20C2-84B6-DA00D99691C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B3CF291B-2F1D-AC68-AFE3-703AE1A8286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4B03B834-EC1E-770E-3979-DB07510DD83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33807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4513168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FAEA7E2-B248-9E2A-DC0F-A64B71A43E35}"/>
              </a:ext>
            </a:extLst>
          </p:cNvPr>
          <p:cNvSpPr/>
          <p:nvPr/>
        </p:nvSpPr>
        <p:spPr>
          <a:xfrm flipV="1">
            <a:off x="298174" y="784685"/>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oup of people raising their hands&#10;&#10;Description automatically generated">
            <a:extLst>
              <a:ext uri="{FF2B5EF4-FFF2-40B4-BE49-F238E27FC236}">
                <a16:creationId xmlns:a16="http://schemas.microsoft.com/office/drawing/2014/main" id="{5DB2EADE-3520-D1BC-5EB4-C08ED7CAF3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8" y="0"/>
            <a:ext cx="9144000" cy="5148519"/>
          </a:xfrm>
          <a:prstGeom prst="rect">
            <a:avLst/>
          </a:prstGeom>
        </p:spPr>
      </p:pic>
      <p:pic>
        <p:nvPicPr>
          <p:cNvPr id="10" name="Picture 9" descr="A group of people raising their hands&#10;&#10;Description automatically generated">
            <a:extLst>
              <a:ext uri="{FF2B5EF4-FFF2-40B4-BE49-F238E27FC236}">
                <a16:creationId xmlns:a16="http://schemas.microsoft.com/office/drawing/2014/main" id="{C0639A6D-5603-F1B8-1C01-F33F579004B0}"/>
              </a:ext>
            </a:extLst>
          </p:cNvPr>
          <p:cNvPicPr>
            <a:picLocks noChangeAspect="1"/>
          </p:cNvPicPr>
          <p:nvPr/>
        </p:nvPicPr>
        <p:blipFill>
          <a:blip r:embed="rId6">
            <a:extLst>
              <a:ext uri="{BEBA8EAE-BF5A-486C-A8C5-ECC9F3942E4B}">
                <a14:imgProps xmlns:a14="http://schemas.microsoft.com/office/drawing/2010/main">
                  <a14:imgLayer r:embed="rId7">
                    <a14:imgEffect>
                      <a14:artisticBlur radius="40"/>
                    </a14:imgEffect>
                  </a14:imgLayer>
                </a14:imgProps>
              </a:ext>
              <a:ext uri="{28A0092B-C50C-407E-A947-70E740481C1C}">
                <a14:useLocalDpi xmlns:a14="http://schemas.microsoft.com/office/drawing/2010/main" val="0"/>
              </a:ext>
            </a:extLst>
          </a:blip>
          <a:srcRect l="62806" r="131" b="50"/>
          <a:stretch>
            <a:fillRect/>
          </a:stretch>
        </p:blipFill>
        <p:spPr>
          <a:xfrm>
            <a:off x="5742976" y="0"/>
            <a:ext cx="3389017" cy="5145940"/>
          </a:xfrm>
          <a:custGeom>
            <a:avLst/>
            <a:gdLst>
              <a:gd name="connsiteX0" fmla="*/ 830601 w 3389017"/>
              <a:gd name="connsiteY0" fmla="*/ 0 h 5145940"/>
              <a:gd name="connsiteX1" fmla="*/ 3389017 w 3389017"/>
              <a:gd name="connsiteY1" fmla="*/ 0 h 5145940"/>
              <a:gd name="connsiteX2" fmla="*/ 3389017 w 3389017"/>
              <a:gd name="connsiteY2" fmla="*/ 5145940 h 5145940"/>
              <a:gd name="connsiteX3" fmla="*/ 422868 w 3389017"/>
              <a:gd name="connsiteY3" fmla="*/ 5145940 h 5145940"/>
              <a:gd name="connsiteX4" fmla="*/ 426404 w 3389017"/>
              <a:gd name="connsiteY4" fmla="*/ 5143692 h 5145940"/>
              <a:gd name="connsiteX5" fmla="*/ 426403 w 3389017"/>
              <a:gd name="connsiteY5" fmla="*/ 5143692 h 5145940"/>
              <a:gd name="connsiteX6" fmla="*/ 422867 w 3389017"/>
              <a:gd name="connsiteY6" fmla="*/ 5145940 h 5145940"/>
              <a:gd name="connsiteX7" fmla="*/ 0 w 3389017"/>
              <a:gd name="connsiteY7" fmla="*/ 5145940 h 5145940"/>
              <a:gd name="connsiteX8" fmla="*/ 125560 w 3389017"/>
              <a:gd name="connsiteY8" fmla="*/ 4368039 h 5145940"/>
              <a:gd name="connsiteX9" fmla="*/ 694195 w 3389017"/>
              <a:gd name="connsiteY9" fmla="*/ 4368039 h 5145940"/>
              <a:gd name="connsiteX10" fmla="*/ 694195 w 3389017"/>
              <a:gd name="connsiteY10" fmla="*/ 4368039 h 5145940"/>
              <a:gd name="connsiteX11" fmla="*/ 125560 w 3389017"/>
              <a:gd name="connsiteY11" fmla="*/ 4368039 h 5145940"/>
              <a:gd name="connsiteX12" fmla="*/ 830600 w 3389017"/>
              <a:gd name="connsiteY12" fmla="*/ 2 h 5145940"/>
              <a:gd name="connsiteX13" fmla="*/ 1226538 w 3389017"/>
              <a:gd name="connsiteY13" fmla="*/ 2 h 5145940"/>
              <a:gd name="connsiteX14" fmla="*/ 1273457 w 3389017"/>
              <a:gd name="connsiteY14" fmla="*/ 6359 h 5145940"/>
              <a:gd name="connsiteX15" fmla="*/ 1273457 w 3389017"/>
              <a:gd name="connsiteY15" fmla="*/ 6359 h 5145940"/>
              <a:gd name="connsiteX16" fmla="*/ 1226538 w 3389017"/>
              <a:gd name="connsiteY16" fmla="*/ 1 h 5145940"/>
              <a:gd name="connsiteX17" fmla="*/ 830600 w 3389017"/>
              <a:gd name="connsiteY17" fmla="*/ 1 h 514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89017" h="5145940">
                <a:moveTo>
                  <a:pt x="830601" y="0"/>
                </a:moveTo>
                <a:lnTo>
                  <a:pt x="3389017" y="0"/>
                </a:lnTo>
                <a:lnTo>
                  <a:pt x="3389017" y="5145940"/>
                </a:lnTo>
                <a:lnTo>
                  <a:pt x="422868" y="5145940"/>
                </a:lnTo>
                <a:lnTo>
                  <a:pt x="426404" y="5143692"/>
                </a:lnTo>
                <a:lnTo>
                  <a:pt x="426403" y="5143692"/>
                </a:lnTo>
                <a:lnTo>
                  <a:pt x="422867" y="5145940"/>
                </a:lnTo>
                <a:lnTo>
                  <a:pt x="0" y="5145940"/>
                </a:lnTo>
                <a:lnTo>
                  <a:pt x="125560" y="4368039"/>
                </a:lnTo>
                <a:lnTo>
                  <a:pt x="694195" y="4368039"/>
                </a:lnTo>
                <a:lnTo>
                  <a:pt x="694195" y="4368039"/>
                </a:lnTo>
                <a:lnTo>
                  <a:pt x="125560" y="4368039"/>
                </a:lnTo>
                <a:lnTo>
                  <a:pt x="830600" y="2"/>
                </a:lnTo>
                <a:lnTo>
                  <a:pt x="1226538" y="2"/>
                </a:lnTo>
                <a:lnTo>
                  <a:pt x="1273457" y="6359"/>
                </a:lnTo>
                <a:lnTo>
                  <a:pt x="1273457" y="6359"/>
                </a:lnTo>
                <a:lnTo>
                  <a:pt x="1226538" y="1"/>
                </a:lnTo>
                <a:lnTo>
                  <a:pt x="830600" y="1"/>
                </a:lnTo>
                <a:close/>
              </a:path>
            </a:pathLst>
          </a:custGeom>
          <a:effectLst>
            <a:outerShdw blurRad="190500" dist="63500" dir="8100000" algn="tr" rotWithShape="0">
              <a:schemeClr val="bg2">
                <a:lumMod val="10000"/>
                <a:alpha val="40000"/>
              </a:schemeClr>
            </a:outerShdw>
          </a:effectLst>
        </p:spPr>
      </p:pic>
      <p:sp>
        <p:nvSpPr>
          <p:cNvPr id="34" name="Freeform 8">
            <a:extLst>
              <a:ext uri="{FF2B5EF4-FFF2-40B4-BE49-F238E27FC236}">
                <a16:creationId xmlns:a16="http://schemas.microsoft.com/office/drawing/2014/main" id="{C37462B5-4CED-C305-4CDB-14F6167A0C31}"/>
              </a:ext>
            </a:extLst>
          </p:cNvPr>
          <p:cNvSpPr/>
          <p:nvPr/>
        </p:nvSpPr>
        <p:spPr>
          <a:xfrm>
            <a:off x="575009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26"/>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B6F0F40F-7A87-0641-28D2-4431CEB6694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4E49D8C3-DDEA-2C22-B47C-BFC8033C1761}"/>
                </a:ext>
              </a:extLst>
            </p:cNvPr>
            <p:cNvGrpSpPr/>
            <p:nvPr/>
          </p:nvGrpSpPr>
          <p:grpSpPr>
            <a:xfrm>
              <a:off x="5720269" y="2764575"/>
              <a:ext cx="1656129" cy="1882392"/>
              <a:chOff x="5720269" y="2764575"/>
              <a:chExt cx="1656129" cy="1882392"/>
            </a:xfrm>
            <a:solidFill>
              <a:schemeClr val="accent1"/>
            </a:solidFill>
          </p:grpSpPr>
          <p:grpSp>
            <p:nvGrpSpPr>
              <p:cNvPr id="22" name="Graphic 2">
                <a:extLst>
                  <a:ext uri="{FF2B5EF4-FFF2-40B4-BE49-F238E27FC236}">
                    <a16:creationId xmlns:a16="http://schemas.microsoft.com/office/drawing/2014/main" id="{5534C0B5-22DA-A3B5-C1A4-0DE5B42AF158}"/>
                  </a:ext>
                </a:extLst>
              </p:cNvPr>
              <p:cNvGrpSpPr/>
              <p:nvPr/>
            </p:nvGrpSpPr>
            <p:grpSpPr>
              <a:xfrm>
                <a:off x="5720269" y="2764575"/>
                <a:ext cx="1656129" cy="1882392"/>
                <a:chOff x="5720269" y="2764575"/>
                <a:chExt cx="1656129" cy="1882392"/>
              </a:xfrm>
              <a:solidFill>
                <a:srgbClr val="00A099"/>
              </a:solidFill>
            </p:grpSpPr>
            <p:sp>
              <p:nvSpPr>
                <p:cNvPr id="26" name="Freeform 75">
                  <a:extLst>
                    <a:ext uri="{FF2B5EF4-FFF2-40B4-BE49-F238E27FC236}">
                      <a16:creationId xmlns:a16="http://schemas.microsoft.com/office/drawing/2014/main" id="{7D8FCA43-C761-7ED2-5A67-2FEE67FE688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Freeform 76">
                  <a:extLst>
                    <a:ext uri="{FF2B5EF4-FFF2-40B4-BE49-F238E27FC236}">
                      <a16:creationId xmlns:a16="http://schemas.microsoft.com/office/drawing/2014/main" id="{35590C9A-A0E2-9C66-D4AD-BBD006B75E87}"/>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7">
                  <a:extLst>
                    <a:ext uri="{FF2B5EF4-FFF2-40B4-BE49-F238E27FC236}">
                      <a16:creationId xmlns:a16="http://schemas.microsoft.com/office/drawing/2014/main" id="{95383C3C-5688-DF10-E26C-3962D1EFF7E4}"/>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3" name="Freeform 72">
                <a:extLst>
                  <a:ext uri="{FF2B5EF4-FFF2-40B4-BE49-F238E27FC236}">
                    <a16:creationId xmlns:a16="http://schemas.microsoft.com/office/drawing/2014/main" id="{5F6E6026-D933-A4B4-4D20-B3B53064F74B}"/>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4" name="Freeform 73">
                <a:extLst>
                  <a:ext uri="{FF2B5EF4-FFF2-40B4-BE49-F238E27FC236}">
                    <a16:creationId xmlns:a16="http://schemas.microsoft.com/office/drawing/2014/main" id="{631D5994-75A2-B42D-3A2E-29E65495AD9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4">
                <a:extLst>
                  <a:ext uri="{FF2B5EF4-FFF2-40B4-BE49-F238E27FC236}">
                    <a16:creationId xmlns:a16="http://schemas.microsoft.com/office/drawing/2014/main" id="{30E8F12F-612A-5834-767F-5F1A6DEAF14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9" name="Freeform 69">
              <a:extLst>
                <a:ext uri="{FF2B5EF4-FFF2-40B4-BE49-F238E27FC236}">
                  <a16:creationId xmlns:a16="http://schemas.microsoft.com/office/drawing/2014/main" id="{8415BC24-B0C8-EF69-7972-2C7748FA2B7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CBE03CB9-BD69-FD9B-0EFD-8C56D17F313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301844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8_Lunch slide">
    <p:bg>
      <p:bgPr>
        <a:blipFill dpi="0" rotWithShape="1">
          <a:blip r:embed="rId3">
            <a:alphaModFix amt="51000"/>
            <a:lum/>
          </a:blip>
          <a:srcRect/>
          <a:stretch>
            <a:fillRect t="-9000" b="-9000"/>
          </a:stretch>
        </a:blipFill>
        <a:effectLst/>
      </p:bgPr>
    </p:bg>
    <p:spTree>
      <p:nvGrpSpPr>
        <p:cNvPr id="1" name=""/>
        <p:cNvGrpSpPr/>
        <p:nvPr/>
      </p:nvGrpSpPr>
      <p:grpSpPr>
        <a:xfrm>
          <a:off x="0" y="0"/>
          <a:ext cx="0" cy="0"/>
          <a:chOff x="0" y="0"/>
          <a:chExt cx="0" cy="0"/>
        </a:xfrm>
      </p:grpSpPr>
      <p:pic>
        <p:nvPicPr>
          <p:cNvPr id="5" name="Picture 4" descr="A person sitting at a desk writing on a pad&#10;&#10;Description automatically generated">
            <a:extLst>
              <a:ext uri="{FF2B5EF4-FFF2-40B4-BE49-F238E27FC236}">
                <a16:creationId xmlns:a16="http://schemas.microsoft.com/office/drawing/2014/main" id="{5E04A05E-C9DB-E76C-54AB-A6DB377D2DCC}"/>
              </a:ext>
            </a:extLst>
          </p:cNvPr>
          <p:cNvPicPr>
            <a:picLocks noChangeAspect="1"/>
          </p:cNvPicPr>
          <p:nvPr/>
        </p:nvPicPr>
        <p:blipFill rotWithShape="1">
          <a:blip r:embed="rId4">
            <a:extLst>
              <a:ext uri="{28A0092B-C50C-407E-A947-70E740481C1C}">
                <a14:useLocalDpi xmlns:a14="http://schemas.microsoft.com/office/drawing/2010/main" val="0"/>
              </a:ext>
            </a:extLst>
          </a:blip>
          <a:srcRect b="15686"/>
          <a:stretch/>
        </p:blipFill>
        <p:spPr>
          <a:xfrm flipH="1">
            <a:off x="-1" y="1"/>
            <a:ext cx="9148805" cy="5142476"/>
          </a:xfrm>
          <a:prstGeom prst="rect">
            <a:avLst/>
          </a:prstGeom>
        </p:spPr>
      </p:pic>
      <p:graphicFrame>
        <p:nvGraphicFramePr>
          <p:cNvPr id="4" name="think-cell data - do not delete" hidden="1">
            <a:extLst>
              <a:ext uri="{FF2B5EF4-FFF2-40B4-BE49-F238E27FC236}">
                <a16:creationId xmlns:a16="http://schemas.microsoft.com/office/drawing/2014/main" id="{6343F83E-1A13-C075-21D4-CA54EC8457E1}"/>
              </a:ext>
            </a:extLst>
          </p:cNvPr>
          <p:cNvGraphicFramePr>
            <a:graphicFrameLocks noChangeAspect="1"/>
          </p:cNvGraphicFramePr>
          <p:nvPr>
            <p:custDataLst>
              <p:tags r:id="rId1"/>
            </p:custDataLst>
            <p:extLst>
              <p:ext uri="{D42A27DB-BD31-4B8C-83A1-F6EECF244321}">
                <p14:modId xmlns:p14="http://schemas.microsoft.com/office/powerpoint/2010/main" val="104244599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6343F83E-1A13-C075-21D4-CA54EC8457E1}"/>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grpSp>
        <p:nvGrpSpPr>
          <p:cNvPr id="2" name="Graphic 2">
            <a:extLst>
              <a:ext uri="{FF2B5EF4-FFF2-40B4-BE49-F238E27FC236}">
                <a16:creationId xmlns:a16="http://schemas.microsoft.com/office/drawing/2014/main" id="{D9E79B20-714C-1EAE-7A8C-0344666771CC}"/>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3C62B50B-A51D-CE83-D50B-A7E0E2297FDB}"/>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D8972664-3F3D-6A33-1CB2-13E6C1FF4D66}"/>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50B08370-8E57-DD69-FADF-4A6892A5CF67}"/>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6AABF3E5-D7D4-F272-B20C-A4A646A3894D}"/>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6CDB33DC-327F-9102-AFA3-DC7612DD3AB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4DFD4303-2053-547F-F51D-A1E57DB4C01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B8ED043-4C6B-EECB-DA0D-9DF4A28B7CA0}"/>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9343D19A-2DAF-32C0-8C73-93D69FAEBD4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8399F4B4-098E-4780-5538-66E1ACF7005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38962A08-484B-B42F-E31B-099133D3D186}"/>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pic>
        <p:nvPicPr>
          <p:cNvPr id="19" name="Picture 18" descr="A person sitting at a desk writing on a pad&#10;&#10;Description automatically generated">
            <a:extLst>
              <a:ext uri="{FF2B5EF4-FFF2-40B4-BE49-F238E27FC236}">
                <a16:creationId xmlns:a16="http://schemas.microsoft.com/office/drawing/2014/main" id="{E58F1722-90F2-9860-EFD8-093E6D44E027}"/>
              </a:ext>
            </a:extLst>
          </p:cNvPr>
          <p:cNvPicPr>
            <a:picLocks noChangeAspect="1"/>
          </p:cNvPicPr>
          <p:nvPr/>
        </p:nvPicPr>
        <p:blipFill rotWithShape="1">
          <a:blip r:embed="rId7">
            <a:extLst>
              <a:ext uri="{BEBA8EAE-BF5A-486C-A8C5-ECC9F3942E4B}">
                <a14:imgProps xmlns:a14="http://schemas.microsoft.com/office/drawing/2010/main">
                  <a14:imgLayer r:embed="rId8">
                    <a14:imgEffect>
                      <a14:artisticBlur radius="40"/>
                    </a14:imgEffect>
                  </a14:imgLayer>
                </a14:imgProps>
              </a:ext>
              <a:ext uri="{28A0092B-C50C-407E-A947-70E740481C1C}">
                <a14:useLocalDpi xmlns:a14="http://schemas.microsoft.com/office/drawing/2010/main" val="0"/>
              </a:ext>
            </a:extLst>
          </a:blip>
          <a:srcRect l="53" r="62910" b="15686"/>
          <a:stretch/>
        </p:blipFill>
        <p:spPr>
          <a:xfrm flipH="1">
            <a:off x="5755542" y="0"/>
            <a:ext cx="3388458" cy="5142476"/>
          </a:xfrm>
          <a:custGeom>
            <a:avLst/>
            <a:gdLst>
              <a:gd name="connsiteX0" fmla="*/ 2558417 w 3388458"/>
              <a:gd name="connsiteY0" fmla="*/ 0 h 5142476"/>
              <a:gd name="connsiteX1" fmla="*/ 0 w 3388458"/>
              <a:gd name="connsiteY1" fmla="*/ 0 h 5142476"/>
              <a:gd name="connsiteX2" fmla="*/ 0 w 3388458"/>
              <a:gd name="connsiteY2" fmla="*/ 5142476 h 5142476"/>
              <a:gd name="connsiteX3" fmla="*/ 3388458 w 3388458"/>
              <a:gd name="connsiteY3" fmla="*/ 5142476 h 5142476"/>
              <a:gd name="connsiteX4" fmla="*/ 3263457 w 3388458"/>
              <a:gd name="connsiteY4" fmla="*/ 4368039 h 5142476"/>
              <a:gd name="connsiteX5" fmla="*/ 2694822 w 3388458"/>
              <a:gd name="connsiteY5" fmla="*/ 4368039 h 5142476"/>
              <a:gd name="connsiteX6" fmla="*/ 2694822 w 3388458"/>
              <a:gd name="connsiteY6" fmla="*/ 4368039 h 5142476"/>
              <a:gd name="connsiteX7" fmla="*/ 3263457 w 3388458"/>
              <a:gd name="connsiteY7" fmla="*/ 4368039 h 5142476"/>
              <a:gd name="connsiteX8" fmla="*/ 2558418 w 3388458"/>
              <a:gd name="connsiteY8" fmla="*/ 2 h 5142476"/>
              <a:gd name="connsiteX9" fmla="*/ 2162480 w 3388458"/>
              <a:gd name="connsiteY9" fmla="*/ 2 h 5142476"/>
              <a:gd name="connsiteX10" fmla="*/ 2115561 w 3388458"/>
              <a:gd name="connsiteY10" fmla="*/ 6359 h 5142476"/>
              <a:gd name="connsiteX11" fmla="*/ 2115561 w 3388458"/>
              <a:gd name="connsiteY11" fmla="*/ 6359 h 5142476"/>
              <a:gd name="connsiteX12" fmla="*/ 2162480 w 3388458"/>
              <a:gd name="connsiteY12" fmla="*/ 1 h 5142476"/>
              <a:gd name="connsiteX13" fmla="*/ 2558418 w 3388458"/>
              <a:gd name="connsiteY13" fmla="*/ 1 h 514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8458" h="5142476">
                <a:moveTo>
                  <a:pt x="2558417" y="0"/>
                </a:moveTo>
                <a:lnTo>
                  <a:pt x="0" y="0"/>
                </a:lnTo>
                <a:lnTo>
                  <a:pt x="0" y="5142476"/>
                </a:lnTo>
                <a:lnTo>
                  <a:pt x="3388458" y="5142476"/>
                </a:lnTo>
                <a:lnTo>
                  <a:pt x="3263457" y="4368039"/>
                </a:lnTo>
                <a:lnTo>
                  <a:pt x="2694822" y="4368039"/>
                </a:lnTo>
                <a:lnTo>
                  <a:pt x="2694822" y="4368039"/>
                </a:lnTo>
                <a:lnTo>
                  <a:pt x="3263457" y="4368039"/>
                </a:lnTo>
                <a:lnTo>
                  <a:pt x="2558418" y="2"/>
                </a:lnTo>
                <a:lnTo>
                  <a:pt x="2162480" y="2"/>
                </a:lnTo>
                <a:lnTo>
                  <a:pt x="2115561" y="6359"/>
                </a:lnTo>
                <a:lnTo>
                  <a:pt x="2115561" y="6359"/>
                </a:lnTo>
                <a:lnTo>
                  <a:pt x="2162480" y="1"/>
                </a:lnTo>
                <a:lnTo>
                  <a:pt x="2558418" y="1"/>
                </a:lnTo>
                <a:close/>
              </a:path>
            </a:pathLst>
          </a:custGeom>
          <a:effectLst>
            <a:outerShdw blurRad="190500" dist="63500" dir="8100000" algn="tr" rotWithShape="0">
              <a:prstClr val="black">
                <a:alpha val="40000"/>
              </a:prstClr>
            </a:outerShdw>
          </a:effectLst>
        </p:spPr>
      </p:pic>
      <p:sp>
        <p:nvSpPr>
          <p:cNvPr id="20" name="Freeform 8">
            <a:extLst>
              <a:ext uri="{FF2B5EF4-FFF2-40B4-BE49-F238E27FC236}">
                <a16:creationId xmlns:a16="http://schemas.microsoft.com/office/drawing/2014/main" id="{4EFF3DBF-D35A-3D50-22DD-188E297BF246}"/>
              </a:ext>
            </a:extLst>
          </p:cNvPr>
          <p:cNvSpPr/>
          <p:nvPr/>
        </p:nvSpPr>
        <p:spPr>
          <a:xfrm>
            <a:off x="5757023"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1827130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68BEAE-D7DE-CBE6-1914-19CE660E7DA6}"/>
              </a:ext>
            </a:extLst>
          </p:cNvPr>
          <p:cNvGraphicFramePr>
            <a:graphicFrameLocks noChangeAspect="1"/>
          </p:cNvGraphicFramePr>
          <p:nvPr>
            <p:custDataLst>
              <p:tags r:id="rId1"/>
            </p:custDataLst>
            <p:extLst>
              <p:ext uri="{D42A27DB-BD31-4B8C-83A1-F6EECF244321}">
                <p14:modId xmlns:p14="http://schemas.microsoft.com/office/powerpoint/2010/main" val="22648090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568BEAE-D7DE-CBE6-1914-19CE660E7DA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DE3BCB63-9553-BF0C-3735-50DEB09D6E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89" y="-2727"/>
            <a:ext cx="9153693" cy="5148952"/>
          </a:xfrm>
          <a:prstGeom prst="rect">
            <a:avLst/>
          </a:prstGeom>
          <a:noFill/>
        </p:spPr>
      </p:pic>
      <p:pic>
        <p:nvPicPr>
          <p:cNvPr id="7" name="Picture 6">
            <a:extLst>
              <a:ext uri="{FF2B5EF4-FFF2-40B4-BE49-F238E27FC236}">
                <a16:creationId xmlns:a16="http://schemas.microsoft.com/office/drawing/2014/main" id="{B0B4D884-F04B-DBC9-EFC5-B5AD9571D44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126"/>
          <a:stretch/>
        </p:blipFill>
        <p:spPr>
          <a:xfrm>
            <a:off x="5759872" y="1"/>
            <a:ext cx="3384128" cy="5142476"/>
          </a:xfrm>
          <a:custGeom>
            <a:avLst/>
            <a:gdLst>
              <a:gd name="connsiteX0" fmla="*/ 1105105 w 4512171"/>
              <a:gd name="connsiteY0" fmla="*/ 0 h 6846621"/>
              <a:gd name="connsiteX1" fmla="*/ 4512171 w 4512171"/>
              <a:gd name="connsiteY1" fmla="*/ 0 h 6846621"/>
              <a:gd name="connsiteX2" fmla="*/ 4512171 w 4512171"/>
              <a:gd name="connsiteY2" fmla="*/ 6846621 h 6846621"/>
              <a:gd name="connsiteX3" fmla="*/ 563823 w 4512171"/>
              <a:gd name="connsiteY3" fmla="*/ 6846621 h 6846621"/>
              <a:gd name="connsiteX4" fmla="*/ 568538 w 4512171"/>
              <a:gd name="connsiteY4" fmla="*/ 6843623 h 6846621"/>
              <a:gd name="connsiteX5" fmla="*/ 568537 w 4512171"/>
              <a:gd name="connsiteY5" fmla="*/ 6843623 h 6846621"/>
              <a:gd name="connsiteX6" fmla="*/ 563822 w 4512171"/>
              <a:gd name="connsiteY6" fmla="*/ 6846621 h 6846621"/>
              <a:gd name="connsiteX7" fmla="*/ 0 w 4512171"/>
              <a:gd name="connsiteY7" fmla="*/ 6846621 h 6846621"/>
              <a:gd name="connsiteX8" fmla="*/ 167413 w 4512171"/>
              <a:gd name="connsiteY8" fmla="*/ 5809420 h 6846621"/>
              <a:gd name="connsiteX9" fmla="*/ 925593 w 4512171"/>
              <a:gd name="connsiteY9" fmla="*/ 5809420 h 6846621"/>
              <a:gd name="connsiteX10" fmla="*/ 925593 w 4512171"/>
              <a:gd name="connsiteY10" fmla="*/ 5809419 h 6846621"/>
              <a:gd name="connsiteX11" fmla="*/ 167413 w 4512171"/>
              <a:gd name="connsiteY11" fmla="*/ 5809419 h 684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2171" h="6846621">
                <a:moveTo>
                  <a:pt x="1105105" y="0"/>
                </a:moveTo>
                <a:lnTo>
                  <a:pt x="4512171" y="0"/>
                </a:lnTo>
                <a:lnTo>
                  <a:pt x="4512171" y="6846621"/>
                </a:lnTo>
                <a:lnTo>
                  <a:pt x="563823" y="6846621"/>
                </a:lnTo>
                <a:lnTo>
                  <a:pt x="568538" y="6843623"/>
                </a:lnTo>
                <a:lnTo>
                  <a:pt x="568537" y="6843623"/>
                </a:lnTo>
                <a:lnTo>
                  <a:pt x="563822" y="6846621"/>
                </a:lnTo>
                <a:lnTo>
                  <a:pt x="0" y="6846621"/>
                </a:lnTo>
                <a:lnTo>
                  <a:pt x="167413" y="5809420"/>
                </a:lnTo>
                <a:lnTo>
                  <a:pt x="925593" y="5809420"/>
                </a:lnTo>
                <a:lnTo>
                  <a:pt x="925593" y="5809419"/>
                </a:lnTo>
                <a:lnTo>
                  <a:pt x="167413" y="5809419"/>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4"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754C49C1-8AA7-0F1F-BDD2-D20FCD5EFE5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95A21216-ED13-9A75-4FCA-41458F1B4208}"/>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529C4750-0D70-9A2B-CCBC-6F21FCEE45D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5420FF3-6ECF-592C-9FFF-9EA3F12E618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5A1EC57-8130-ECEA-8EA2-E1B71B53345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7010A060-8C35-0A17-6A5F-11FA1E87771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C2B15FCE-EE3A-F834-536C-2549FD0CFEB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134AF12-4BC8-54C2-26AD-EB2B1E3CC4D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7002E28-7B97-0FEA-16ED-BEB9CCF0F2C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F9F8651F-4ED1-03A2-5830-4D981C923467}"/>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9900B49-A9F5-061C-E96B-BA60DCDB487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688525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2C11C0-6426-DFDF-852F-24881F59EC81}"/>
              </a:ext>
            </a:extLst>
          </p:cNvPr>
          <p:cNvGraphicFramePr>
            <a:graphicFrameLocks noChangeAspect="1"/>
          </p:cNvGraphicFramePr>
          <p:nvPr>
            <p:custDataLst>
              <p:tags r:id="rId1"/>
            </p:custDataLst>
            <p:extLst>
              <p:ext uri="{D42A27DB-BD31-4B8C-83A1-F6EECF244321}">
                <p14:modId xmlns:p14="http://schemas.microsoft.com/office/powerpoint/2010/main" val="624079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5E2C11C0-6426-DFDF-852F-24881F59EC81}"/>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14">
            <a:extLst>
              <a:ext uri="{FF2B5EF4-FFF2-40B4-BE49-F238E27FC236}">
                <a16:creationId xmlns:a16="http://schemas.microsoft.com/office/drawing/2014/main" id="{584B5DF4-86BD-4202-1277-BA2E5965C37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3233FA53-EEF8-0122-15A9-EC14690F4E38}"/>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9986" y="0"/>
            <a:ext cx="3379127" cy="5143500"/>
          </a:xfrm>
          <a:custGeom>
            <a:avLst/>
            <a:gdLst>
              <a:gd name="connsiteX0" fmla="*/ 1106941 w 4505502"/>
              <a:gd name="connsiteY0" fmla="*/ 0 h 6858000"/>
              <a:gd name="connsiteX1" fmla="*/ 1647112 w 4505502"/>
              <a:gd name="connsiteY1" fmla="*/ 0 h 6858000"/>
              <a:gd name="connsiteX2" fmla="*/ 1697679 w 4505502"/>
              <a:gd name="connsiteY2" fmla="*/ 6852 h 6858000"/>
              <a:gd name="connsiteX3" fmla="*/ 1697679 w 4505502"/>
              <a:gd name="connsiteY3" fmla="*/ 6851 h 6858000"/>
              <a:gd name="connsiteX4" fmla="*/ 1647120 w 4505502"/>
              <a:gd name="connsiteY4" fmla="*/ 0 h 6858000"/>
              <a:gd name="connsiteX5" fmla="*/ 4505502 w 4505502"/>
              <a:gd name="connsiteY5" fmla="*/ 0 h 6858000"/>
              <a:gd name="connsiteX6" fmla="*/ 4505502 w 4505502"/>
              <a:gd name="connsiteY6" fmla="*/ 6858000 h 6858000"/>
              <a:gd name="connsiteX7" fmla="*/ 566118 w 4505502"/>
              <a:gd name="connsiteY7" fmla="*/ 6858000 h 6858000"/>
              <a:gd name="connsiteX8" fmla="*/ 568275 w 4505502"/>
              <a:gd name="connsiteY8" fmla="*/ 6856628 h 6858000"/>
              <a:gd name="connsiteX9" fmla="*/ 568274 w 4505502"/>
              <a:gd name="connsiteY9" fmla="*/ 6856628 h 6858000"/>
              <a:gd name="connsiteX10" fmla="*/ 566117 w 4505502"/>
              <a:gd name="connsiteY10" fmla="*/ 6858000 h 6858000"/>
              <a:gd name="connsiteX11" fmla="*/ 0 w 4505502"/>
              <a:gd name="connsiteY11" fmla="*/ 6858000 h 6858000"/>
              <a:gd name="connsiteX12" fmla="*/ 167150 w 4505502"/>
              <a:gd name="connsiteY12" fmla="*/ 5822425 h 6858000"/>
              <a:gd name="connsiteX13" fmla="*/ 925330 w 4505502"/>
              <a:gd name="connsiteY13" fmla="*/ 5822425 h 6858000"/>
              <a:gd name="connsiteX14" fmla="*/ 925330 w 4505502"/>
              <a:gd name="connsiteY14" fmla="*/ 5822424 h 6858000"/>
              <a:gd name="connsiteX15" fmla="*/ 167150 w 4505502"/>
              <a:gd name="connsiteY15" fmla="*/ 58224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05502" h="6858000">
                <a:moveTo>
                  <a:pt x="1106941" y="0"/>
                </a:moveTo>
                <a:lnTo>
                  <a:pt x="1647112" y="0"/>
                </a:lnTo>
                <a:lnTo>
                  <a:pt x="1697679" y="6852"/>
                </a:lnTo>
                <a:lnTo>
                  <a:pt x="1697679" y="6851"/>
                </a:lnTo>
                <a:lnTo>
                  <a:pt x="1647120" y="0"/>
                </a:lnTo>
                <a:lnTo>
                  <a:pt x="4505502" y="0"/>
                </a:lnTo>
                <a:lnTo>
                  <a:pt x="4505502" y="6858000"/>
                </a:lnTo>
                <a:lnTo>
                  <a:pt x="566118" y="6858000"/>
                </a:lnTo>
                <a:lnTo>
                  <a:pt x="568275" y="6856628"/>
                </a:lnTo>
                <a:lnTo>
                  <a:pt x="568274" y="6856628"/>
                </a:lnTo>
                <a:lnTo>
                  <a:pt x="566117" y="6858000"/>
                </a:lnTo>
                <a:lnTo>
                  <a:pt x="0" y="6858000"/>
                </a:lnTo>
                <a:lnTo>
                  <a:pt x="167150" y="5822425"/>
                </a:lnTo>
                <a:lnTo>
                  <a:pt x="925330" y="5822425"/>
                </a:lnTo>
                <a:lnTo>
                  <a:pt x="925330" y="5822424"/>
                </a:lnTo>
                <a:lnTo>
                  <a:pt x="167150" y="5822424"/>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22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CABED26-7966-83BC-CD38-D0FA0ED6468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239349BB-20C6-BC4C-ED58-815C227C728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6C330FD3-37BA-1C25-3EE2-09801A8DD612}"/>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59E18091-2FC9-C880-98E1-E9A70B90594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6255805A-685D-617D-2708-C3174AF447CE}"/>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E00EAD29-3933-B482-285C-895D8109346C}"/>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7E889D02-D7DA-90AC-0292-026985CAC56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C92E67A-B504-BBC0-F0D8-D0AF818B23F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D5E4B536-3123-2FEC-A986-FC6438E9783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FA6F6697-5756-A2CA-F234-E7871106B6C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202CD2B1-3C58-D197-3055-CC1B20A047F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81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DA86ACB-53DD-D422-B321-A200D26EAF4F}"/>
              </a:ext>
            </a:extLst>
          </p:cNvPr>
          <p:cNvGraphicFramePr>
            <a:graphicFrameLocks noChangeAspect="1"/>
          </p:cNvGraphicFramePr>
          <p:nvPr>
            <p:custDataLst>
              <p:tags r:id="rId1"/>
            </p:custDataLst>
            <p:extLst>
              <p:ext uri="{D42A27DB-BD31-4B8C-83A1-F6EECF244321}">
                <p14:modId xmlns:p14="http://schemas.microsoft.com/office/powerpoint/2010/main" val="540723586"/>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DA86ACB-53DD-D422-B321-A200D26EAF4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Placeholder 8">
            <a:extLst>
              <a:ext uri="{FF2B5EF4-FFF2-40B4-BE49-F238E27FC236}">
                <a16:creationId xmlns:a16="http://schemas.microsoft.com/office/drawing/2014/main" id="{34A8CF12-0BFB-864B-4D28-45305DDC96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20" name="Picture 19">
            <a:extLst>
              <a:ext uri="{FF2B5EF4-FFF2-40B4-BE49-F238E27FC236}">
                <a16:creationId xmlns:a16="http://schemas.microsoft.com/office/drawing/2014/main" id="{7C356C6E-B2B5-7A95-5A61-3DAF040F4DC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60699" y="0"/>
            <a:ext cx="3383302" cy="5143500"/>
          </a:xfrm>
          <a:custGeom>
            <a:avLst/>
            <a:gdLst>
              <a:gd name="connsiteX0" fmla="*/ 1106941 w 4511069"/>
              <a:gd name="connsiteY0" fmla="*/ 0 h 6858000"/>
              <a:gd name="connsiteX1" fmla="*/ 1639262 w 4511069"/>
              <a:gd name="connsiteY1" fmla="*/ 0 h 6858000"/>
              <a:gd name="connsiteX2" fmla="*/ 1697511 w 4511069"/>
              <a:gd name="connsiteY2" fmla="*/ 7893 h 6858000"/>
              <a:gd name="connsiteX3" fmla="*/ 1697511 w 4511069"/>
              <a:gd name="connsiteY3" fmla="*/ 7892 h 6858000"/>
              <a:gd name="connsiteX4" fmla="*/ 1639269 w 4511069"/>
              <a:gd name="connsiteY4" fmla="*/ 0 h 6858000"/>
              <a:gd name="connsiteX5" fmla="*/ 4511069 w 4511069"/>
              <a:gd name="connsiteY5" fmla="*/ 0 h 6858000"/>
              <a:gd name="connsiteX6" fmla="*/ 4511069 w 4511069"/>
              <a:gd name="connsiteY6" fmla="*/ 6858000 h 6858000"/>
              <a:gd name="connsiteX7" fmla="*/ 567587 w 4511069"/>
              <a:gd name="connsiteY7" fmla="*/ 6858000 h 6858000"/>
              <a:gd name="connsiteX8" fmla="*/ 568107 w 4511069"/>
              <a:gd name="connsiteY8" fmla="*/ 6857669 h 6858000"/>
              <a:gd name="connsiteX9" fmla="*/ 568106 w 4511069"/>
              <a:gd name="connsiteY9" fmla="*/ 6857669 h 6858000"/>
              <a:gd name="connsiteX10" fmla="*/ 567586 w 4511069"/>
              <a:gd name="connsiteY10" fmla="*/ 6858000 h 6858000"/>
              <a:gd name="connsiteX11" fmla="*/ 0 w 4511069"/>
              <a:gd name="connsiteY11" fmla="*/ 6858000 h 6858000"/>
              <a:gd name="connsiteX12" fmla="*/ 166982 w 4511069"/>
              <a:gd name="connsiteY12" fmla="*/ 5823466 h 6858000"/>
              <a:gd name="connsiteX13" fmla="*/ 925162 w 4511069"/>
              <a:gd name="connsiteY13" fmla="*/ 5823466 h 6858000"/>
              <a:gd name="connsiteX14" fmla="*/ 925162 w 4511069"/>
              <a:gd name="connsiteY14" fmla="*/ 5823465 h 6858000"/>
              <a:gd name="connsiteX15" fmla="*/ 166982 w 4511069"/>
              <a:gd name="connsiteY15" fmla="*/ 5823465 h 6858000"/>
              <a:gd name="connsiteX16" fmla="*/ 1106941 w 4511069"/>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11069" h="6858000">
                <a:moveTo>
                  <a:pt x="1106941" y="0"/>
                </a:moveTo>
                <a:lnTo>
                  <a:pt x="1639262" y="0"/>
                </a:lnTo>
                <a:lnTo>
                  <a:pt x="1697511" y="7893"/>
                </a:lnTo>
                <a:lnTo>
                  <a:pt x="1697511" y="7892"/>
                </a:lnTo>
                <a:lnTo>
                  <a:pt x="1639269" y="0"/>
                </a:lnTo>
                <a:lnTo>
                  <a:pt x="4511069" y="0"/>
                </a:lnTo>
                <a:lnTo>
                  <a:pt x="4511069" y="6858000"/>
                </a:lnTo>
                <a:lnTo>
                  <a:pt x="567587" y="6858000"/>
                </a:lnTo>
                <a:lnTo>
                  <a:pt x="568107" y="6857669"/>
                </a:lnTo>
                <a:lnTo>
                  <a:pt x="568106" y="6857669"/>
                </a:lnTo>
                <a:lnTo>
                  <a:pt x="567586" y="6858000"/>
                </a:lnTo>
                <a:lnTo>
                  <a:pt x="0" y="6858000"/>
                </a:lnTo>
                <a:lnTo>
                  <a:pt x="166982" y="5823466"/>
                </a:lnTo>
                <a:lnTo>
                  <a:pt x="925162" y="5823466"/>
                </a:lnTo>
                <a:lnTo>
                  <a:pt x="925162" y="5823465"/>
                </a:lnTo>
                <a:lnTo>
                  <a:pt x="166982" y="5823465"/>
                </a:lnTo>
                <a:lnTo>
                  <a:pt x="1106941" y="0"/>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820144DC-C304-B32A-1CBF-DA4182FD900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55029527-F74F-C5AB-91B9-18E81ACFCF5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B1EB0E71-2A88-117D-7FE5-296C8BB3E95C}"/>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EBC0A3D5-B89F-E979-C021-6112BA917684}"/>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B240B972-98D0-CFA5-5793-0B58568149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7">
                  <a:extLst>
                    <a:ext uri="{FF2B5EF4-FFF2-40B4-BE49-F238E27FC236}">
                      <a16:creationId xmlns:a16="http://schemas.microsoft.com/office/drawing/2014/main" id="{9B8D86FE-F15B-EA65-70CF-DAC426449208}"/>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7169D97B-1A2B-F9AB-A4A9-A42A92156498}"/>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669906C6-5F5D-C4F7-D241-51CEE1AD242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39700647-4829-986E-BBD3-5593D5B2DFA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CC31620-3EE7-E5DF-60B2-68B569B435F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0DF1DE43-19D2-DE99-8F9A-0D8A4B095399}"/>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3581446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EBB819-B9E6-4DB5-669C-19A93CDAD22A}"/>
              </a:ext>
            </a:extLst>
          </p:cNvPr>
          <p:cNvGraphicFramePr>
            <a:graphicFrameLocks noChangeAspect="1"/>
          </p:cNvGraphicFramePr>
          <p:nvPr>
            <p:custDataLst>
              <p:tags r:id="rId1"/>
            </p:custDataLst>
            <p:extLst>
              <p:ext uri="{D42A27DB-BD31-4B8C-83A1-F6EECF244321}">
                <p14:modId xmlns:p14="http://schemas.microsoft.com/office/powerpoint/2010/main" val="63427076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3DEBB819-B9E6-4DB5-669C-19A93CDAD22A}"/>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EBB36352-569E-80FC-83C4-466A015D765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BC993C79-BFCE-31FF-CBA8-7ED50119C0D3}"/>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srgbClr val="000000"/>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5378" y="1025"/>
            <a:ext cx="3393428"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E92E0EDF-0E5B-D679-E57D-ECE61D68542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CC8C7BED-BE1A-BCD9-846E-90D1F0D07176}"/>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5EFA46-E019-218F-5055-1AEB65728389}"/>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E1F0A470-F632-FB64-6AD9-866075D9D3C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C8A75F81-731B-B4C1-04E8-6442226482E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10ED8382-08CC-AF29-35AC-88E3ADBE4601}"/>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6A92BA1F-A7B8-B6C2-D52C-92944E47D70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A6D6A43-CC47-F289-81A1-50360EAECD3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3614373-E207-919A-880C-CB801347C982}"/>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D4EF08F1-BF1E-7000-EE4B-E5CFCBD97D79}"/>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1199E50-4DFF-463B-15B8-92BAFD0AF0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lgn="l">
              <a:defRPr sz="2400" b="0">
                <a:solidFill>
                  <a:schemeClr val="bg1"/>
                </a:solidFill>
              </a:defRPr>
            </a:lvl1pPr>
          </a:lstStyle>
          <a:p>
            <a:r>
              <a:rPr lang="en-US"/>
              <a:t>Click to edit Master title style</a:t>
            </a:r>
            <a:endParaRPr lang="en-AE"/>
          </a:p>
        </p:txBody>
      </p:sp>
    </p:spTree>
    <p:extLst>
      <p:ext uri="{BB962C8B-B14F-4D97-AF65-F5344CB8AC3E}">
        <p14:creationId xmlns:p14="http://schemas.microsoft.com/office/powerpoint/2010/main" val="2073309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360DD0C-C6FA-43E6-8CA4-EC0315E75915}"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7621344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7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361D35-2BBC-923E-175B-2CDE95760283}"/>
              </a:ext>
            </a:extLst>
          </p:cNvPr>
          <p:cNvGraphicFramePr>
            <a:graphicFrameLocks noChangeAspect="1"/>
          </p:cNvGraphicFramePr>
          <p:nvPr>
            <p:custDataLst>
              <p:tags r:id="rId1"/>
            </p:custDataLst>
            <p:extLst>
              <p:ext uri="{D42A27DB-BD31-4B8C-83A1-F6EECF244321}">
                <p14:modId xmlns:p14="http://schemas.microsoft.com/office/powerpoint/2010/main" val="1836046427"/>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2B361D35-2BBC-923E-175B-2CDE9576028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D1333C2C-02F8-B78B-30B3-65CCEB8A22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BF4B3445-CC71-1045-7F8C-D4A4676FCE7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D3F407CC-E96E-8C10-6ACF-483BE3FBBFD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4BFD7DA3-4065-DC4F-E484-B5A0287E0EAE}"/>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7431D8A2-D9C9-DCFD-166D-012829BECA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99EF448-2A94-4B1C-E9DE-4B456EFCE4D5}"/>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35DE5CCA-6165-55E3-EB1E-44BCF30802EF}"/>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D4367764-7C6C-3B75-9B96-BCCCAB43D52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E83BB-908C-D738-BCEA-8C2BA99678B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57DFE6D1-FE3B-BA5C-FAD2-2858643AB8D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B04FB89B-0278-1877-89E0-D68409C11EB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54BE19CA-0036-65A8-02DD-728241253BE2}"/>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CDAB89A4-BA5E-6F11-50D8-65A0A8C455E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0844761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8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DCF461-62AE-2E98-4A7E-3D15C53EB945}"/>
              </a:ext>
            </a:extLst>
          </p:cNvPr>
          <p:cNvGraphicFramePr>
            <a:graphicFrameLocks noChangeAspect="1"/>
          </p:cNvGraphicFramePr>
          <p:nvPr>
            <p:custDataLst>
              <p:tags r:id="rId1"/>
            </p:custDataLst>
            <p:extLst>
              <p:ext uri="{D42A27DB-BD31-4B8C-83A1-F6EECF244321}">
                <p14:modId xmlns:p14="http://schemas.microsoft.com/office/powerpoint/2010/main" val="328549325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EDCF461-62AE-2E98-4A7E-3D15C53EB945}"/>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3" name="Picture 2" descr="A picture containing person, child&#10;&#10;Description automatically generated">
            <a:extLst>
              <a:ext uri="{FF2B5EF4-FFF2-40B4-BE49-F238E27FC236}">
                <a16:creationId xmlns:a16="http://schemas.microsoft.com/office/drawing/2014/main" id="{FC1E40EC-62F6-ACBD-7BF8-498D3BEF6FE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7" name="Picture 6" descr="A picture containing person, child&#10;&#10;Description automatically generated">
            <a:extLst>
              <a:ext uri="{FF2B5EF4-FFF2-40B4-BE49-F238E27FC236}">
                <a16:creationId xmlns:a16="http://schemas.microsoft.com/office/drawing/2014/main" id="{1D348B6A-6370-AFE2-6D61-115A09E28A47}"/>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2CB7CD0-A34F-6F2F-D2D7-ADECAF8238D2}"/>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D0559BE9-C992-545A-B450-2C8C998BF32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54065DF-357D-8AF5-5D11-4A15C042F83A}"/>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ACE123F3-3323-306E-D4D3-677620C2951A}"/>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902C04C6-EFE6-F499-DC97-6465C84D3605}"/>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5379FAF-ECB7-5170-E5DC-FE1FCC791A7F}"/>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6B34178-BA66-66D8-FF95-8097DCAEDD79}"/>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6A555FD-1160-EC48-F3D4-6AC6DD7DDD9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E320C55-0DF1-B5CE-8479-DC3BD2F420B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41B3E22E-A3D6-4858-800C-24699BDA03CE}"/>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5281DDB1-F7A3-E40A-F1AB-E7AC2DD560F0}"/>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2119309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1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173402-3923-03F5-14F9-FE53A7203C2F}"/>
              </a:ext>
            </a:extLst>
          </p:cNvPr>
          <p:cNvGraphicFramePr>
            <a:graphicFrameLocks noChangeAspect="1"/>
          </p:cNvGraphicFramePr>
          <p:nvPr>
            <p:custDataLst>
              <p:tags r:id="rId1"/>
            </p:custDataLst>
            <p:extLst>
              <p:ext uri="{D42A27DB-BD31-4B8C-83A1-F6EECF244321}">
                <p14:modId xmlns:p14="http://schemas.microsoft.com/office/powerpoint/2010/main" val="25298530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4173402-3923-03F5-14F9-FE53A7203C2F}"/>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6" name="Picture 5" descr="A picture containing text, sign, signage, yellow&#10;&#10;Description automatically generated">
            <a:extLst>
              <a:ext uri="{FF2B5EF4-FFF2-40B4-BE49-F238E27FC236}">
                <a16:creationId xmlns:a16="http://schemas.microsoft.com/office/drawing/2014/main" id="{28EC72DA-2562-B205-1E5B-0E26F87339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24"/>
            <a:ext cx="9148805" cy="5146203"/>
          </a:xfrm>
          <a:prstGeom prst="rect">
            <a:avLst/>
          </a:prstGeom>
        </p:spPr>
      </p:pic>
      <p:pic>
        <p:nvPicPr>
          <p:cNvPr id="7" name="Picture 6">
            <a:extLst>
              <a:ext uri="{FF2B5EF4-FFF2-40B4-BE49-F238E27FC236}">
                <a16:creationId xmlns:a16="http://schemas.microsoft.com/office/drawing/2014/main" id="{507853F3-2813-D668-8606-33D082D5959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5773" y="1"/>
            <a:ext cx="3388228" cy="5142476"/>
          </a:xfrm>
          <a:custGeom>
            <a:avLst/>
            <a:gdLst>
              <a:gd name="connsiteX0" fmla="*/ 1106417 w 4517639"/>
              <a:gd name="connsiteY0" fmla="*/ 0 h 6854747"/>
              <a:gd name="connsiteX1" fmla="*/ 4517639 w 4517639"/>
              <a:gd name="connsiteY1" fmla="*/ 0 h 6854747"/>
              <a:gd name="connsiteX2" fmla="*/ 4517639 w 4517639"/>
              <a:gd name="connsiteY2" fmla="*/ 6854747 h 6854747"/>
              <a:gd name="connsiteX3" fmla="*/ 0 w 4517639"/>
              <a:gd name="connsiteY3" fmla="*/ 6854747 h 6854747"/>
              <a:gd name="connsiteX4" fmla="*/ 166363 w 4517639"/>
              <a:gd name="connsiteY4" fmla="*/ 5824052 h 6854747"/>
              <a:gd name="connsiteX5" fmla="*/ 924543 w 4517639"/>
              <a:gd name="connsiteY5" fmla="*/ 5824052 h 6854747"/>
              <a:gd name="connsiteX6" fmla="*/ 924543 w 4517639"/>
              <a:gd name="connsiteY6" fmla="*/ 5824051 h 6854747"/>
              <a:gd name="connsiteX7" fmla="*/ 166363 w 4517639"/>
              <a:gd name="connsiteY7" fmla="*/ 5824051 h 6854747"/>
              <a:gd name="connsiteX8" fmla="*/ 1106416 w 4517639"/>
              <a:gd name="connsiteY8" fmla="*/ 2 h 6854747"/>
              <a:gd name="connsiteX9" fmla="*/ 1634333 w 4517639"/>
              <a:gd name="connsiteY9" fmla="*/ 2 h 6854747"/>
              <a:gd name="connsiteX10" fmla="*/ 1696892 w 4517639"/>
              <a:gd name="connsiteY10" fmla="*/ 8479 h 6854747"/>
              <a:gd name="connsiteX11" fmla="*/ 1696892 w 4517639"/>
              <a:gd name="connsiteY11" fmla="*/ 8478 h 6854747"/>
              <a:gd name="connsiteX12" fmla="*/ 1634333 w 4517639"/>
              <a:gd name="connsiteY12" fmla="*/ 1 h 6854747"/>
              <a:gd name="connsiteX13" fmla="*/ 1106416 w 4517639"/>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7639" h="6854747">
                <a:moveTo>
                  <a:pt x="1106417" y="0"/>
                </a:moveTo>
                <a:lnTo>
                  <a:pt x="4517639" y="0"/>
                </a:lnTo>
                <a:lnTo>
                  <a:pt x="4517639"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77DCC829-9AFD-F7C5-4948-BF891AFB1B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F33CC6F4-42A0-4769-40D5-476293C7949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F7D57A8-042E-2749-738E-CDACBB23E88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42E9497B-1752-8521-D6E7-F9EA945B22F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85D442D1-FA86-8E38-A655-940897877A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9E52AE32-1E08-D1AE-088E-F54F54D11127}"/>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123F2A8E-5E66-9877-F9F6-C986D4774F9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B6428678-C466-FC8C-156D-C99554F95BC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90FA6F79-83D1-3B0F-C268-5CBCD0AE5A0D}"/>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5" name="Freeform 69">
              <a:extLst>
                <a:ext uri="{FF2B5EF4-FFF2-40B4-BE49-F238E27FC236}">
                  <a16:creationId xmlns:a16="http://schemas.microsoft.com/office/drawing/2014/main" id="{2EEA6596-3FA7-9C45-1B7A-D14B72A6525F}"/>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F1CF44-C41E-0A56-269A-47CFE7ED86A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32943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Lunch sl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066A68-3330-CCD2-0850-5DE93DCBCCE2}"/>
              </a:ext>
            </a:extLst>
          </p:cNvPr>
          <p:cNvGraphicFramePr>
            <a:graphicFrameLocks noChangeAspect="1"/>
          </p:cNvGraphicFramePr>
          <p:nvPr>
            <p:custDataLst>
              <p:tags r:id="rId1"/>
            </p:custDataLst>
            <p:extLst>
              <p:ext uri="{D42A27DB-BD31-4B8C-83A1-F6EECF244321}">
                <p14:modId xmlns:p14="http://schemas.microsoft.com/office/powerpoint/2010/main" val="241148232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EC066A68-3330-CCD2-0850-5DE93DCBCCE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4" name="Picture Placeholder 14">
            <a:extLst>
              <a:ext uri="{FF2B5EF4-FFF2-40B4-BE49-F238E27FC236}">
                <a16:creationId xmlns:a16="http://schemas.microsoft.com/office/drawing/2014/main" id="{E56A2616-C3F1-AEB6-ECAE-50731BEF70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0" y="0"/>
            <a:ext cx="9144000" cy="5143500"/>
          </a:xfrm>
          <a:prstGeom prst="rect">
            <a:avLst/>
          </a:prstGeom>
          <a:noFill/>
        </p:spPr>
      </p:pic>
      <p:pic>
        <p:nvPicPr>
          <p:cNvPr id="8" name="Picture 7">
            <a:extLst>
              <a:ext uri="{FF2B5EF4-FFF2-40B4-BE49-F238E27FC236}">
                <a16:creationId xmlns:a16="http://schemas.microsoft.com/office/drawing/2014/main" id="{EF1C848C-2A07-EFF6-B882-637547293991}"/>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a:xfrm flipH="1">
            <a:off x="5762680" y="14437"/>
            <a:ext cx="3367129" cy="5143500"/>
          </a:xfrm>
          <a:custGeom>
            <a:avLst/>
            <a:gdLst>
              <a:gd name="connsiteX0" fmla="*/ 3382563 w 4489505"/>
              <a:gd name="connsiteY0" fmla="*/ 0 h 6858000"/>
              <a:gd name="connsiteX1" fmla="*/ 2842399 w 4489505"/>
              <a:gd name="connsiteY1" fmla="*/ 0 h 6858000"/>
              <a:gd name="connsiteX2" fmla="*/ 2791825 w 4489505"/>
              <a:gd name="connsiteY2" fmla="*/ 6853 h 6858000"/>
              <a:gd name="connsiteX3" fmla="*/ 2791825 w 4489505"/>
              <a:gd name="connsiteY3" fmla="*/ 6852 h 6858000"/>
              <a:gd name="connsiteX4" fmla="*/ 2842392 w 4489505"/>
              <a:gd name="connsiteY4" fmla="*/ 0 h 6858000"/>
              <a:gd name="connsiteX5" fmla="*/ 0 w 4489505"/>
              <a:gd name="connsiteY5" fmla="*/ 0 h 6858000"/>
              <a:gd name="connsiteX6" fmla="*/ 0 w 4489505"/>
              <a:gd name="connsiteY6" fmla="*/ 6858000 h 6858000"/>
              <a:gd name="connsiteX7" fmla="*/ 3923385 w 4489505"/>
              <a:gd name="connsiteY7" fmla="*/ 6858000 h 6858000"/>
              <a:gd name="connsiteX8" fmla="*/ 3921229 w 4489505"/>
              <a:gd name="connsiteY8" fmla="*/ 6856629 h 6858000"/>
              <a:gd name="connsiteX9" fmla="*/ 3921230 w 4489505"/>
              <a:gd name="connsiteY9" fmla="*/ 6856629 h 6858000"/>
              <a:gd name="connsiteX10" fmla="*/ 3923386 w 4489505"/>
              <a:gd name="connsiteY10" fmla="*/ 6858000 h 6858000"/>
              <a:gd name="connsiteX11" fmla="*/ 4489505 w 4489505"/>
              <a:gd name="connsiteY11" fmla="*/ 6858000 h 6858000"/>
              <a:gd name="connsiteX12" fmla="*/ 4322354 w 4489505"/>
              <a:gd name="connsiteY12" fmla="*/ 5822426 h 6858000"/>
              <a:gd name="connsiteX13" fmla="*/ 3564174 w 4489505"/>
              <a:gd name="connsiteY13" fmla="*/ 5822426 h 6858000"/>
              <a:gd name="connsiteX14" fmla="*/ 3564174 w 4489505"/>
              <a:gd name="connsiteY14" fmla="*/ 5822425 h 6858000"/>
              <a:gd name="connsiteX15" fmla="*/ 4322354 w 4489505"/>
              <a:gd name="connsiteY15" fmla="*/ 58224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9505" h="6858000">
                <a:moveTo>
                  <a:pt x="3382563" y="0"/>
                </a:moveTo>
                <a:lnTo>
                  <a:pt x="2842399" y="0"/>
                </a:lnTo>
                <a:lnTo>
                  <a:pt x="2791825" y="6853"/>
                </a:lnTo>
                <a:lnTo>
                  <a:pt x="2791825" y="6852"/>
                </a:lnTo>
                <a:lnTo>
                  <a:pt x="2842392" y="0"/>
                </a:lnTo>
                <a:lnTo>
                  <a:pt x="0" y="0"/>
                </a:lnTo>
                <a:lnTo>
                  <a:pt x="0" y="6858000"/>
                </a:lnTo>
                <a:lnTo>
                  <a:pt x="3923385" y="6858000"/>
                </a:lnTo>
                <a:lnTo>
                  <a:pt x="3921229" y="6856629"/>
                </a:lnTo>
                <a:lnTo>
                  <a:pt x="3921230" y="6856629"/>
                </a:lnTo>
                <a:lnTo>
                  <a:pt x="3923386" y="6858000"/>
                </a:lnTo>
                <a:lnTo>
                  <a:pt x="4489505" y="6858000"/>
                </a:lnTo>
                <a:lnTo>
                  <a:pt x="4322354" y="5822426"/>
                </a:lnTo>
                <a:lnTo>
                  <a:pt x="3564174" y="5822426"/>
                </a:lnTo>
                <a:lnTo>
                  <a:pt x="3564174" y="5822425"/>
                </a:lnTo>
                <a:lnTo>
                  <a:pt x="4322354" y="5822425"/>
                </a:lnTo>
                <a:close/>
              </a:path>
            </a:pathLst>
          </a:custGeom>
          <a:noFill/>
          <a:effectLst>
            <a:outerShdw blurRad="190500" dist="63500" dir="10800000" algn="r" rotWithShape="0">
              <a:schemeClr val="tx1">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5859F193-9741-E97F-5548-8313F467A5DA}"/>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F2E0ADD9-A47B-8421-0015-8460F99EEB75}"/>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271746D-C212-D263-4ABE-39C3A88909AB}"/>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C03D4986-0C80-F2E3-FB1A-AC020F95A9B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5BCDDD07-E454-B2A5-9209-ED2B7C50E98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4F7F126C-BD33-0F53-A480-E8D849799FC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96012C3E-CCF8-8F81-057B-3C62B96952AF}"/>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F4C0C394-9E8F-507D-2ABA-04E05D62CE22}"/>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A6369DCB-B5D4-514F-A46D-F9FBAA6CA574}"/>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9B6FD9D0-4DD8-9C6A-F21F-61AA37A068D6}"/>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7AD702FF-20DB-66B4-76E4-F17C4B56AA33}"/>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366185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0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BAEA34-A133-F477-38AC-6261E38E644D}"/>
              </a:ext>
            </a:extLst>
          </p:cNvPr>
          <p:cNvGraphicFramePr>
            <a:graphicFrameLocks noChangeAspect="1"/>
          </p:cNvGraphicFramePr>
          <p:nvPr>
            <p:custDataLst>
              <p:tags r:id="rId1"/>
            </p:custDataLst>
            <p:extLst>
              <p:ext uri="{D42A27DB-BD31-4B8C-83A1-F6EECF244321}">
                <p14:modId xmlns:p14="http://schemas.microsoft.com/office/powerpoint/2010/main" val="227098223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BDBAEA34-A133-F477-38AC-6261E38E644D}"/>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9148805" cy="5146202"/>
          </a:xfrm>
          <a:prstGeom prst="rect">
            <a:avLst/>
          </a:prstGeom>
          <a:noFill/>
        </p:spPr>
      </p:pic>
      <p:pic>
        <p:nvPicPr>
          <p:cNvPr id="5" name="Picture 4">
            <a:extLst>
              <a:ext uri="{FF2B5EF4-FFF2-40B4-BE49-F238E27FC236}">
                <a16:creationId xmlns:a16="http://schemas.microsoft.com/office/drawing/2014/main" id="{76D9B89E-0ABB-FDC7-88FF-85EC5B92D13B}"/>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a:stretch/>
        </p:blipFill>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noFill/>
          <a:effectLst>
            <a:outerShdw blurRad="190500" dist="63500" dir="10800000" algn="r" rotWithShape="0">
              <a:schemeClr val="tx2">
                <a:alpha val="40000"/>
              </a:scheme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867EDFD2-793F-05CC-8ECA-2E7BBAC755FD}"/>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A9DBC34F-F3A6-E907-F187-528EA1DAE99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033C72C7-D37C-B450-EB26-B4E28AECE86E}"/>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3A008AF3-E97E-F390-2EEC-755DBCB363D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EBC3E639-F228-9588-6718-219B5D098792}"/>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833F1154-3CA4-D24D-5F54-7E37D01D799A}"/>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745BCC4-600A-40DC-EF58-FEF5DF8C1847}"/>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1F11A763-011D-E075-D573-BE82D0539618}"/>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320273BD-13FD-BB35-A367-7269815650D0}"/>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6CBF7EA9-C734-FDF4-181B-C362EBF7B34C}"/>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F083D06C-43D6-486F-8869-A52CFD5172B4}"/>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9988253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08886899"/>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3961AF3-0BAC-3B23-DECC-06C944A8A0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9" y="1"/>
            <a:ext cx="9138645" cy="5141060"/>
          </a:xfrm>
          <a:prstGeom prst="rect">
            <a:avLst/>
          </a:prstGeom>
        </p:spPr>
      </p:pic>
      <p:pic>
        <p:nvPicPr>
          <p:cNvPr id="17" name="Picture 16">
            <a:extLst>
              <a:ext uri="{FF2B5EF4-FFF2-40B4-BE49-F238E27FC236}">
                <a16:creationId xmlns:a16="http://schemas.microsoft.com/office/drawing/2014/main" id="{11511514-914E-FC06-D18F-12E951B5EDFF}"/>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t="-218" r="-245"/>
          <a:stretch/>
        </p:blipFill>
        <p:spPr>
          <a:xfrm>
            <a:off x="5744200" y="0"/>
            <a:ext cx="3394915" cy="5147988"/>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BEF3C90-A9AF-7986-9EC9-D328CD35443B}"/>
              </a:ext>
            </a:extLst>
          </p:cNvPr>
          <p:cNvGrpSpPr>
            <a:grpSpLocks noChangeAspect="1"/>
          </p:cNvGrpSpPr>
          <p:nvPr/>
        </p:nvGrpSpPr>
        <p:grpSpPr>
          <a:xfrm>
            <a:off x="4804" y="2"/>
            <a:ext cx="468178" cy="756000"/>
            <a:chOff x="4425584" y="267785"/>
            <a:chExt cx="2950814" cy="4756864"/>
          </a:xfrm>
          <a:solidFill>
            <a:schemeClr val="accent1"/>
          </a:solidFill>
        </p:grpSpPr>
        <p:grpSp>
          <p:nvGrpSpPr>
            <p:cNvPr id="3" name="Graphic 2">
              <a:extLst>
                <a:ext uri="{FF2B5EF4-FFF2-40B4-BE49-F238E27FC236}">
                  <a16:creationId xmlns:a16="http://schemas.microsoft.com/office/drawing/2014/main" id="{72D73334-B35C-7954-1936-98ACBBAC9012}"/>
                </a:ext>
              </a:extLst>
            </p:cNvPr>
            <p:cNvGrpSpPr/>
            <p:nvPr/>
          </p:nvGrpSpPr>
          <p:grpSpPr>
            <a:xfrm>
              <a:off x="5720269" y="2764575"/>
              <a:ext cx="1656129" cy="1882392"/>
              <a:chOff x="5720269" y="2764575"/>
              <a:chExt cx="1656129" cy="1882392"/>
            </a:xfrm>
            <a:solidFill>
              <a:schemeClr val="accent1"/>
            </a:solidFill>
          </p:grpSpPr>
          <p:grpSp>
            <p:nvGrpSpPr>
              <p:cNvPr id="8" name="Graphic 2">
                <a:extLst>
                  <a:ext uri="{FF2B5EF4-FFF2-40B4-BE49-F238E27FC236}">
                    <a16:creationId xmlns:a16="http://schemas.microsoft.com/office/drawing/2014/main" id="{86939B4E-B5F4-9BB2-6772-8A5D1D9D2560}"/>
                  </a:ext>
                </a:extLst>
              </p:cNvPr>
              <p:cNvGrpSpPr/>
              <p:nvPr/>
            </p:nvGrpSpPr>
            <p:grpSpPr>
              <a:xfrm>
                <a:off x="5720269" y="2764575"/>
                <a:ext cx="1656129" cy="1882392"/>
                <a:chOff x="5720269" y="2764575"/>
                <a:chExt cx="1656129" cy="1882392"/>
              </a:xfrm>
              <a:solidFill>
                <a:srgbClr val="00A099"/>
              </a:solidFill>
            </p:grpSpPr>
            <p:sp>
              <p:nvSpPr>
                <p:cNvPr id="15" name="Freeform 75">
                  <a:extLst>
                    <a:ext uri="{FF2B5EF4-FFF2-40B4-BE49-F238E27FC236}">
                      <a16:creationId xmlns:a16="http://schemas.microsoft.com/office/drawing/2014/main" id="{17CF27B8-71E3-E5AD-D343-39885DAE95CB}"/>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6">
                  <a:extLst>
                    <a:ext uri="{FF2B5EF4-FFF2-40B4-BE49-F238E27FC236}">
                      <a16:creationId xmlns:a16="http://schemas.microsoft.com/office/drawing/2014/main" id="{4D998468-CD7C-54A7-A31D-1DC97D0965E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B86D4BE5-E10A-D56A-C6E9-E0971B82FD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0" name="Freeform 72">
                <a:extLst>
                  <a:ext uri="{FF2B5EF4-FFF2-40B4-BE49-F238E27FC236}">
                    <a16:creationId xmlns:a16="http://schemas.microsoft.com/office/drawing/2014/main" id="{FEB3C013-7EE7-CA9E-91FB-85FCBD75D280}"/>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1" name="Freeform 73">
                <a:extLst>
                  <a:ext uri="{FF2B5EF4-FFF2-40B4-BE49-F238E27FC236}">
                    <a16:creationId xmlns:a16="http://schemas.microsoft.com/office/drawing/2014/main" id="{2F50CD9D-0F73-DD28-EE1E-47C74F19ADD5}"/>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4">
                <a:extLst>
                  <a:ext uri="{FF2B5EF4-FFF2-40B4-BE49-F238E27FC236}">
                    <a16:creationId xmlns:a16="http://schemas.microsoft.com/office/drawing/2014/main" id="{7C822FDB-D784-BC8E-2E16-DA792FF76843}"/>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10782F7F-4E40-D04E-1A96-BA3197EBF5AB}"/>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27227963-6E9C-F37F-ACAA-53CC991CFDE1}"/>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421872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385752830"/>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descr="Close-up of a pen writing on a chart">
            <a:extLst>
              <a:ext uri="{FF2B5EF4-FFF2-40B4-BE49-F238E27FC236}">
                <a16:creationId xmlns:a16="http://schemas.microsoft.com/office/drawing/2014/main" id="{2117F75F-8932-4B18-5263-6FD54F2D617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8" name="Picture 7" descr="Close-up of a pen writing on a chart">
            <a:extLst>
              <a:ext uri="{FF2B5EF4-FFF2-40B4-BE49-F238E27FC236}">
                <a16:creationId xmlns:a16="http://schemas.microsoft.com/office/drawing/2014/main" id="{B140270D-787B-3A30-8E81-F2B0349FDB5E}"/>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378" y="0"/>
            <a:ext cx="3383735" cy="5143500"/>
          </a:xfrm>
          <a:custGeom>
            <a:avLst/>
            <a:gdLst>
              <a:gd name="connsiteX0" fmla="*/ 1106942 w 4511646"/>
              <a:gd name="connsiteY0" fmla="*/ 0 h 6858000"/>
              <a:gd name="connsiteX1" fmla="*/ 4511646 w 4511646"/>
              <a:gd name="connsiteY1" fmla="*/ 0 h 6858000"/>
              <a:gd name="connsiteX2" fmla="*/ 4511646 w 4511646"/>
              <a:gd name="connsiteY2" fmla="*/ 6858000 h 6858000"/>
              <a:gd name="connsiteX3" fmla="*/ 0 w 4511646"/>
              <a:gd name="connsiteY3" fmla="*/ 6858000 h 6858000"/>
              <a:gd name="connsiteX4" fmla="*/ 166888 w 4511646"/>
              <a:gd name="connsiteY4" fmla="*/ 5824052 h 6858000"/>
              <a:gd name="connsiteX5" fmla="*/ 925068 w 4511646"/>
              <a:gd name="connsiteY5" fmla="*/ 5824052 h 6858000"/>
              <a:gd name="connsiteX6" fmla="*/ 925068 w 4511646"/>
              <a:gd name="connsiteY6" fmla="*/ 5824051 h 6858000"/>
              <a:gd name="connsiteX7" fmla="*/ 166888 w 4511646"/>
              <a:gd name="connsiteY7" fmla="*/ 5824051 h 6858000"/>
              <a:gd name="connsiteX8" fmla="*/ 1106941 w 4511646"/>
              <a:gd name="connsiteY8" fmla="*/ 2 h 6858000"/>
              <a:gd name="connsiteX9" fmla="*/ 1634858 w 4511646"/>
              <a:gd name="connsiteY9" fmla="*/ 2 h 6858000"/>
              <a:gd name="connsiteX10" fmla="*/ 1697417 w 4511646"/>
              <a:gd name="connsiteY10" fmla="*/ 8479 h 6858000"/>
              <a:gd name="connsiteX11" fmla="*/ 1697417 w 4511646"/>
              <a:gd name="connsiteY11" fmla="*/ 8478 h 6858000"/>
              <a:gd name="connsiteX12" fmla="*/ 1634858 w 4511646"/>
              <a:gd name="connsiteY12" fmla="*/ 1 h 6858000"/>
              <a:gd name="connsiteX13" fmla="*/ 1106941 w 4511646"/>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646" h="6858000">
                <a:moveTo>
                  <a:pt x="1106942" y="0"/>
                </a:moveTo>
                <a:lnTo>
                  <a:pt x="4511646" y="0"/>
                </a:lnTo>
                <a:lnTo>
                  <a:pt x="4511646"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EC6A14E-CAD9-71F4-033C-4A4002363410}"/>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6F74C849-406E-D1CC-5AF9-BC946A661D5C}"/>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39F00991-38F4-4141-276C-06D7690DE4A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9FE81324-22A5-5E78-9524-675E738F8A78}"/>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01EFE7C2-812E-10E2-7124-751F08F05418}"/>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CA2F1E99-699F-80C2-51EE-08E8C81D0F7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4C8B2E6E-2AA1-60BD-6690-8F5DCEF5704C}"/>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C454ACAA-9ED9-3F5E-F151-A766E07A1E4E}"/>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55413CD3-186D-6E43-7C77-8F8E75A7FE08}"/>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1EE5F01-B53C-C4A2-A3B6-DAEA4207239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F756E25D-FFEA-C4E5-A3FF-C0294371F54B}"/>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01316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7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224255359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5488AB93-1CC5-1523-C61D-F92B49553FD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0"/>
            <a:ext cx="9144000" cy="5143500"/>
          </a:xfrm>
          <a:prstGeom prst="rect">
            <a:avLst/>
          </a:prstGeom>
          <a:noFill/>
        </p:spPr>
      </p:pic>
      <p:pic>
        <p:nvPicPr>
          <p:cNvPr id="8" name="Picture 7">
            <a:extLst>
              <a:ext uri="{FF2B5EF4-FFF2-40B4-BE49-F238E27FC236}">
                <a16:creationId xmlns:a16="http://schemas.microsoft.com/office/drawing/2014/main" id="{FDFA8344-EDB2-8E0A-0741-7E68EC526B00}"/>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30"/>
                    </a14:imgEffect>
                  </a14:imgLayer>
                </a14:imgProps>
              </a:ext>
              <a:ext uri="{28A0092B-C50C-407E-A947-70E740481C1C}">
                <a14:useLocalDpi xmlns:a14="http://schemas.microsoft.com/office/drawing/2010/main"/>
              </a:ext>
            </a:extLst>
          </a:blip>
          <a:srcRect b="-20"/>
          <a:stretch/>
        </p:blipFill>
        <p:spPr>
          <a:xfrm>
            <a:off x="5755378" y="0"/>
            <a:ext cx="3388623" cy="5143500"/>
          </a:xfrm>
          <a:custGeom>
            <a:avLst/>
            <a:gdLst>
              <a:gd name="connsiteX0" fmla="*/ 1106942 w 4518164"/>
              <a:gd name="connsiteY0" fmla="*/ 0 h 6858000"/>
              <a:gd name="connsiteX1" fmla="*/ 4518164 w 4518164"/>
              <a:gd name="connsiteY1" fmla="*/ 0 h 6858000"/>
              <a:gd name="connsiteX2" fmla="*/ 4518164 w 4518164"/>
              <a:gd name="connsiteY2" fmla="*/ 6858000 h 6858000"/>
              <a:gd name="connsiteX3" fmla="*/ 0 w 4518164"/>
              <a:gd name="connsiteY3" fmla="*/ 6858000 h 6858000"/>
              <a:gd name="connsiteX4" fmla="*/ 166888 w 4518164"/>
              <a:gd name="connsiteY4" fmla="*/ 5824052 h 6858000"/>
              <a:gd name="connsiteX5" fmla="*/ 925068 w 4518164"/>
              <a:gd name="connsiteY5" fmla="*/ 5824052 h 6858000"/>
              <a:gd name="connsiteX6" fmla="*/ 925068 w 4518164"/>
              <a:gd name="connsiteY6" fmla="*/ 5824051 h 6858000"/>
              <a:gd name="connsiteX7" fmla="*/ 166888 w 4518164"/>
              <a:gd name="connsiteY7" fmla="*/ 5824051 h 6858000"/>
              <a:gd name="connsiteX8" fmla="*/ 1106941 w 4518164"/>
              <a:gd name="connsiteY8" fmla="*/ 2 h 6858000"/>
              <a:gd name="connsiteX9" fmla="*/ 1634858 w 4518164"/>
              <a:gd name="connsiteY9" fmla="*/ 2 h 6858000"/>
              <a:gd name="connsiteX10" fmla="*/ 1697417 w 4518164"/>
              <a:gd name="connsiteY10" fmla="*/ 8479 h 6858000"/>
              <a:gd name="connsiteX11" fmla="*/ 1697417 w 4518164"/>
              <a:gd name="connsiteY11" fmla="*/ 8478 h 6858000"/>
              <a:gd name="connsiteX12" fmla="*/ 1634858 w 4518164"/>
              <a:gd name="connsiteY12" fmla="*/ 1 h 6858000"/>
              <a:gd name="connsiteX13" fmla="*/ 1106941 w 4518164"/>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8164" h="6858000">
                <a:moveTo>
                  <a:pt x="1106942" y="0"/>
                </a:moveTo>
                <a:lnTo>
                  <a:pt x="4518164" y="0"/>
                </a:lnTo>
                <a:lnTo>
                  <a:pt x="4518164" y="6858000"/>
                </a:lnTo>
                <a:lnTo>
                  <a:pt x="0" y="6858000"/>
                </a:lnTo>
                <a:lnTo>
                  <a:pt x="166888" y="5824052"/>
                </a:lnTo>
                <a:lnTo>
                  <a:pt x="925068" y="5824052"/>
                </a:lnTo>
                <a:lnTo>
                  <a:pt x="925068" y="5824051"/>
                </a:lnTo>
                <a:lnTo>
                  <a:pt x="166888" y="5824051"/>
                </a:lnTo>
                <a:lnTo>
                  <a:pt x="1106941" y="2"/>
                </a:lnTo>
                <a:lnTo>
                  <a:pt x="1634858" y="2"/>
                </a:lnTo>
                <a:lnTo>
                  <a:pt x="1697417" y="8479"/>
                </a:lnTo>
                <a:lnTo>
                  <a:pt x="1697417" y="8478"/>
                </a:lnTo>
                <a:lnTo>
                  <a:pt x="1634858" y="1"/>
                </a:lnTo>
                <a:lnTo>
                  <a:pt x="1106941"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04FE90DF-C7D4-8746-E3F6-95FCC169D3C9}"/>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3B7CD4DD-47D5-52E0-F9BB-212D85B04C3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420519BF-0BE4-DBAC-CAE5-9836244F21CD}"/>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1FA6642A-1534-9ED0-8D41-7C2300ECB33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41D268AB-F881-F75A-CC10-9E2695B51653}"/>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9B6614E-82EF-98E5-93A0-7A3145592869}"/>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FC18EA1-19C1-EF5B-C7F8-9DEDC8101BDA}"/>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65C3E232-6124-BD30-7B34-D85C8087EBA6}"/>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0BA64A2-1D33-9F57-D2B4-51CEA3FBAF7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3BAB17F1-553B-4DC3-AD60-DB86D9CD0945}"/>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7" name="Freeform 70">
              <a:extLst>
                <a:ext uri="{FF2B5EF4-FFF2-40B4-BE49-F238E27FC236}">
                  <a16:creationId xmlns:a16="http://schemas.microsoft.com/office/drawing/2014/main" id="{B24904F8-B3A1-A913-348E-1E258A695E6F}"/>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03256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1007173955"/>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pic>
        <p:nvPicPr>
          <p:cNvPr id="2" name="Picture Placeholder 14">
            <a:extLst>
              <a:ext uri="{FF2B5EF4-FFF2-40B4-BE49-F238E27FC236}">
                <a16:creationId xmlns:a16="http://schemas.microsoft.com/office/drawing/2014/main" id="{43859227-41B1-FA74-F544-0FC47C2A08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a:noFill/>
        </p:spPr>
      </p:pic>
      <p:pic>
        <p:nvPicPr>
          <p:cNvPr id="6" name="Picture 5">
            <a:extLst>
              <a:ext uri="{FF2B5EF4-FFF2-40B4-BE49-F238E27FC236}">
                <a16:creationId xmlns:a16="http://schemas.microsoft.com/office/drawing/2014/main" id="{E86C371C-FB21-D6EA-4464-FF380523A5B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rcRect/>
          <a:stretch/>
        </p:blipFill>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noFill/>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9A7759E3-A183-27BD-4CCE-09F922F4FDF5}"/>
              </a:ext>
            </a:extLst>
          </p:cNvPr>
          <p:cNvGrpSpPr>
            <a:grpSpLocks noChangeAspect="1"/>
          </p:cNvGrpSpPr>
          <p:nvPr/>
        </p:nvGrpSpPr>
        <p:grpSpPr>
          <a:xfrm>
            <a:off x="4804" y="2"/>
            <a:ext cx="468178" cy="756000"/>
            <a:chOff x="4425584" y="267785"/>
            <a:chExt cx="2950814" cy="4756864"/>
          </a:xfrm>
          <a:solidFill>
            <a:schemeClr val="accent1"/>
          </a:solidFill>
        </p:grpSpPr>
        <p:grpSp>
          <p:nvGrpSpPr>
            <p:cNvPr id="5" name="Graphic 2">
              <a:extLst>
                <a:ext uri="{FF2B5EF4-FFF2-40B4-BE49-F238E27FC236}">
                  <a16:creationId xmlns:a16="http://schemas.microsoft.com/office/drawing/2014/main" id="{E4DB8B3B-3E8E-3B0D-6176-159D7745F26E}"/>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8EC0F9E3-7712-626B-3965-79322F2D2F33}"/>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BA4CCC59-494F-091D-DCB5-23F21DA93489}"/>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DCEA12D7-D968-C9F0-F436-782592C03424}"/>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F4FEA879-8D7D-3598-C055-4C7BD47EA515}"/>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3DA045B4-9641-5CBD-D231-5BB2B0D81341}"/>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E03FB336-4D82-722A-1A40-528C18C106AC}"/>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4AAED0AB-6D6E-0958-02E2-A651579E8D49}"/>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9619FCC4-E57B-ABA0-CE52-E34ADC1D64B1}"/>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DB428BAF-FBA7-DE9B-F236-A984CF644D17}"/>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190053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6_Lunch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24CABC-6B2B-0EB2-D552-1EEEEFE14A7F}"/>
              </a:ext>
            </a:extLst>
          </p:cNvPr>
          <p:cNvGraphicFramePr>
            <a:graphicFrameLocks noChangeAspect="1"/>
          </p:cNvGraphicFramePr>
          <p:nvPr>
            <p:custDataLst>
              <p:tags r:id="rId1"/>
            </p:custDataLst>
            <p:extLst>
              <p:ext uri="{D42A27DB-BD31-4B8C-83A1-F6EECF244321}">
                <p14:modId xmlns:p14="http://schemas.microsoft.com/office/powerpoint/2010/main" val="105818076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4924CABC-6B2B-0EB2-D552-1EEEEFE14A7F}"/>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pic>
        <p:nvPicPr>
          <p:cNvPr id="3" name="Picture 2" descr="A picture containing text, table, person, indoor&#10;&#10;Description automatically generated">
            <a:extLst>
              <a:ext uri="{FF2B5EF4-FFF2-40B4-BE49-F238E27FC236}">
                <a16:creationId xmlns:a16="http://schemas.microsoft.com/office/drawing/2014/main" id="{6E669C65-A98C-ED4F-411A-6AEBA075375E}"/>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 y="1"/>
            <a:ext cx="9139661" cy="5141060"/>
          </a:xfrm>
          <a:prstGeom prst="rect">
            <a:avLst/>
          </a:prstGeom>
        </p:spPr>
      </p:pic>
      <p:pic>
        <p:nvPicPr>
          <p:cNvPr id="7" name="Picture 6" descr="A picture containing text, table, person, indoor&#10;&#10;Description automatically generated">
            <a:extLst>
              <a:ext uri="{FF2B5EF4-FFF2-40B4-BE49-F238E27FC236}">
                <a16:creationId xmlns:a16="http://schemas.microsoft.com/office/drawing/2014/main" id="{C14B8F9F-639D-C63D-C2E9-6FB171F2A09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a:ext>
            </a:extLst>
          </a:blip>
          <a:srcRect/>
          <a:stretch/>
        </p:blipFill>
        <p:spPr>
          <a:xfrm>
            <a:off x="5755773" y="1"/>
            <a:ext cx="3383890" cy="5141060"/>
          </a:xfrm>
          <a:custGeom>
            <a:avLst/>
            <a:gdLst>
              <a:gd name="connsiteX0" fmla="*/ 1106416 w 4511853"/>
              <a:gd name="connsiteY0" fmla="*/ 0 h 6854746"/>
              <a:gd name="connsiteX1" fmla="*/ 4511853 w 4511853"/>
              <a:gd name="connsiteY1" fmla="*/ 0 h 6854746"/>
              <a:gd name="connsiteX2" fmla="*/ 4511853 w 4511853"/>
              <a:gd name="connsiteY2" fmla="*/ 6854746 h 6854746"/>
              <a:gd name="connsiteX3" fmla="*/ 0 w 4511853"/>
              <a:gd name="connsiteY3" fmla="*/ 6854746 h 6854746"/>
              <a:gd name="connsiteX4" fmla="*/ 166362 w 4511853"/>
              <a:gd name="connsiteY4" fmla="*/ 5824052 h 6854746"/>
              <a:gd name="connsiteX5" fmla="*/ 924542 w 4511853"/>
              <a:gd name="connsiteY5" fmla="*/ 5824052 h 6854746"/>
              <a:gd name="connsiteX6" fmla="*/ 924542 w 4511853"/>
              <a:gd name="connsiteY6" fmla="*/ 5824051 h 6854746"/>
              <a:gd name="connsiteX7" fmla="*/ 166362 w 4511853"/>
              <a:gd name="connsiteY7" fmla="*/ 5824051 h 6854746"/>
              <a:gd name="connsiteX8" fmla="*/ 1106415 w 4511853"/>
              <a:gd name="connsiteY8" fmla="*/ 2 h 6854746"/>
              <a:gd name="connsiteX9" fmla="*/ 1634332 w 4511853"/>
              <a:gd name="connsiteY9" fmla="*/ 2 h 6854746"/>
              <a:gd name="connsiteX10" fmla="*/ 1696891 w 4511853"/>
              <a:gd name="connsiteY10" fmla="*/ 8479 h 6854746"/>
              <a:gd name="connsiteX11" fmla="*/ 1696891 w 4511853"/>
              <a:gd name="connsiteY11" fmla="*/ 8478 h 6854746"/>
              <a:gd name="connsiteX12" fmla="*/ 1634332 w 4511853"/>
              <a:gd name="connsiteY12" fmla="*/ 1 h 6854746"/>
              <a:gd name="connsiteX13" fmla="*/ 1106415 w 4511853"/>
              <a:gd name="connsiteY13" fmla="*/ 1 h 685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853" h="6854746">
                <a:moveTo>
                  <a:pt x="1106416" y="0"/>
                </a:moveTo>
                <a:lnTo>
                  <a:pt x="4511853" y="0"/>
                </a:lnTo>
                <a:lnTo>
                  <a:pt x="4511853" y="6854746"/>
                </a:lnTo>
                <a:lnTo>
                  <a:pt x="0" y="6854746"/>
                </a:lnTo>
                <a:lnTo>
                  <a:pt x="166362" y="5824052"/>
                </a:lnTo>
                <a:lnTo>
                  <a:pt x="924542" y="5824052"/>
                </a:lnTo>
                <a:lnTo>
                  <a:pt x="924542" y="5824051"/>
                </a:lnTo>
                <a:lnTo>
                  <a:pt x="166362" y="5824051"/>
                </a:lnTo>
                <a:lnTo>
                  <a:pt x="1106415" y="2"/>
                </a:lnTo>
                <a:lnTo>
                  <a:pt x="1634332" y="2"/>
                </a:lnTo>
                <a:lnTo>
                  <a:pt x="1696891" y="8479"/>
                </a:lnTo>
                <a:lnTo>
                  <a:pt x="1696891" y="8478"/>
                </a:lnTo>
                <a:lnTo>
                  <a:pt x="1634332" y="1"/>
                </a:lnTo>
                <a:lnTo>
                  <a:pt x="1106415" y="1"/>
                </a:lnTo>
                <a:close/>
              </a:path>
            </a:pathLst>
          </a:custGeom>
          <a:effectLst>
            <a:outerShdw blurRad="190500" dist="63500" dir="10800000" algn="r" rotWithShape="0">
              <a:prstClr val="black">
                <a:alpha val="40000"/>
              </a:prstClr>
            </a:outerShdw>
          </a:effectLst>
        </p:spPr>
      </p:pic>
      <p:sp>
        <p:nvSpPr>
          <p:cNvPr id="9" name="Freeform 8">
            <a:extLst>
              <a:ext uri="{FF2B5EF4-FFF2-40B4-BE49-F238E27FC236}">
                <a16:creationId xmlns:a16="http://schemas.microsoft.com/office/drawing/2014/main" id="{FA439B9D-4ABB-F9CD-BAA4-095D6A45A25A}"/>
              </a:ext>
            </a:extLst>
          </p:cNvPr>
          <p:cNvSpPr/>
          <p:nvPr/>
        </p:nvSpPr>
        <p:spPr>
          <a:xfrm>
            <a:off x="5754985" y="0"/>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2" name="Graphic 2">
            <a:extLst>
              <a:ext uri="{FF2B5EF4-FFF2-40B4-BE49-F238E27FC236}">
                <a16:creationId xmlns:a16="http://schemas.microsoft.com/office/drawing/2014/main" id="{A0DEEBA9-7BBF-9066-9AD9-814A666AAA57}"/>
              </a:ext>
            </a:extLst>
          </p:cNvPr>
          <p:cNvGrpSpPr>
            <a:grpSpLocks noChangeAspect="1"/>
          </p:cNvGrpSpPr>
          <p:nvPr/>
        </p:nvGrpSpPr>
        <p:grpSpPr>
          <a:xfrm>
            <a:off x="4804" y="2"/>
            <a:ext cx="468178" cy="756000"/>
            <a:chOff x="4425584" y="267785"/>
            <a:chExt cx="2950814" cy="4756864"/>
          </a:xfrm>
          <a:solidFill>
            <a:schemeClr val="accent1"/>
          </a:solidFill>
        </p:grpSpPr>
        <p:grpSp>
          <p:nvGrpSpPr>
            <p:cNvPr id="4" name="Graphic 2">
              <a:extLst>
                <a:ext uri="{FF2B5EF4-FFF2-40B4-BE49-F238E27FC236}">
                  <a16:creationId xmlns:a16="http://schemas.microsoft.com/office/drawing/2014/main" id="{9F52AFEC-BAB4-4C24-6530-8E881EC2B322}"/>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A686350E-9352-280A-C43E-4C1DAE50642F}"/>
                  </a:ext>
                </a:extLst>
              </p:cNvPr>
              <p:cNvGrpSpPr/>
              <p:nvPr/>
            </p:nvGrpSpPr>
            <p:grpSpPr>
              <a:xfrm>
                <a:off x="5720269" y="2764575"/>
                <a:ext cx="1656129" cy="1882392"/>
                <a:chOff x="5720269" y="2764575"/>
                <a:chExt cx="1656129" cy="1882392"/>
              </a:xfrm>
              <a:solidFill>
                <a:srgbClr val="00A099"/>
              </a:solidFill>
            </p:grpSpPr>
            <p:sp>
              <p:nvSpPr>
                <p:cNvPr id="16" name="Freeform 75">
                  <a:extLst>
                    <a:ext uri="{FF2B5EF4-FFF2-40B4-BE49-F238E27FC236}">
                      <a16:creationId xmlns:a16="http://schemas.microsoft.com/office/drawing/2014/main" id="{FC719EC5-48AE-04D8-4E26-2390B98E1FA2}"/>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7" name="Freeform 76">
                  <a:extLst>
                    <a:ext uri="{FF2B5EF4-FFF2-40B4-BE49-F238E27FC236}">
                      <a16:creationId xmlns:a16="http://schemas.microsoft.com/office/drawing/2014/main" id="{FA0F339F-286F-B39E-EEF3-19DF62AB63C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7">
                  <a:extLst>
                    <a:ext uri="{FF2B5EF4-FFF2-40B4-BE49-F238E27FC236}">
                      <a16:creationId xmlns:a16="http://schemas.microsoft.com/office/drawing/2014/main" id="{52C3A899-E06B-129B-0B67-D272E2EA8DA3}"/>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1" name="Freeform 72">
                <a:extLst>
                  <a:ext uri="{FF2B5EF4-FFF2-40B4-BE49-F238E27FC236}">
                    <a16:creationId xmlns:a16="http://schemas.microsoft.com/office/drawing/2014/main" id="{5429F100-6DEB-46D2-A6C9-8C5F421F8164}"/>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2" name="Freeform 73">
                <a:extLst>
                  <a:ext uri="{FF2B5EF4-FFF2-40B4-BE49-F238E27FC236}">
                    <a16:creationId xmlns:a16="http://schemas.microsoft.com/office/drawing/2014/main" id="{795E4EB8-EB67-EEEA-759D-7FB263E7053D}"/>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4">
                <a:extLst>
                  <a:ext uri="{FF2B5EF4-FFF2-40B4-BE49-F238E27FC236}">
                    <a16:creationId xmlns:a16="http://schemas.microsoft.com/office/drawing/2014/main" id="{F899A539-AE95-C379-070F-0C5BDD78796B}"/>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6" name="Freeform 69">
              <a:extLst>
                <a:ext uri="{FF2B5EF4-FFF2-40B4-BE49-F238E27FC236}">
                  <a16:creationId xmlns:a16="http://schemas.microsoft.com/office/drawing/2014/main" id="{E75F5C94-5DB8-2715-88E4-AF09ABADD090}"/>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E15942AF-EAA1-84B4-DACA-5D8516420FD8}"/>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noAutofit/>
          </a:bodyPr>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390714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A72B04A8-0642-4B74-B509-37603BFD0282}"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7966175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Lunch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395373-C2C6-6A46-353B-AA58BC52B206}"/>
              </a:ext>
            </a:extLst>
          </p:cNvPr>
          <p:cNvGraphicFramePr>
            <a:graphicFrameLocks noChangeAspect="1"/>
          </p:cNvGraphicFramePr>
          <p:nvPr>
            <p:custDataLst>
              <p:tags r:id="rId1"/>
            </p:custDataLst>
            <p:extLst>
              <p:ext uri="{D42A27DB-BD31-4B8C-83A1-F6EECF244321}">
                <p14:modId xmlns:p14="http://schemas.microsoft.com/office/powerpoint/2010/main" val="389349526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93395373-C2C6-6A46-353B-AA58BC52B206}"/>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43D925F-E9DE-97E7-72EB-034C2AE8191C}"/>
              </a:ext>
            </a:extLst>
          </p:cNvPr>
          <p:cNvSpPr>
            <a:spLocks noGrp="1"/>
          </p:cNvSpPr>
          <p:nvPr>
            <p:ph type="pic" sz="quarter" idx="10"/>
          </p:nvPr>
        </p:nvSpPr>
        <p:spPr>
          <a:xfrm>
            <a:off x="4762" y="0"/>
            <a:ext cx="9139238" cy="5143500"/>
          </a:xfrm>
          <a:prstGeom prst="rect">
            <a:avLst/>
          </a:prstGeom>
          <a:solidFill>
            <a:schemeClr val="bg2">
              <a:lumMod val="90000"/>
            </a:schemeClr>
          </a:solidFill>
        </p:spPr>
        <p:txBody>
          <a:bodyPr/>
          <a:lstStyle/>
          <a:p>
            <a:r>
              <a:rPr lang="en-US"/>
              <a:t>Click icon to add picture</a:t>
            </a:r>
            <a:endParaRPr lang="en-GB"/>
          </a:p>
        </p:txBody>
      </p:sp>
      <p:sp>
        <p:nvSpPr>
          <p:cNvPr id="11" name="Picture Placeholder 10">
            <a:extLst>
              <a:ext uri="{FF2B5EF4-FFF2-40B4-BE49-F238E27FC236}">
                <a16:creationId xmlns:a16="http://schemas.microsoft.com/office/drawing/2014/main" id="{10D4FF9D-1245-7A3E-62CB-AF889860A481}"/>
              </a:ext>
            </a:extLst>
          </p:cNvPr>
          <p:cNvSpPr>
            <a:spLocks noGrp="1"/>
          </p:cNvSpPr>
          <p:nvPr>
            <p:ph type="pic" sz="quarter" idx="11"/>
          </p:nvPr>
        </p:nvSpPr>
        <p:spPr>
          <a:xfrm>
            <a:off x="5755773" y="1"/>
            <a:ext cx="3383341" cy="5141060"/>
          </a:xfrm>
          <a:custGeom>
            <a:avLst/>
            <a:gdLst>
              <a:gd name="connsiteX0" fmla="*/ 1106417 w 4511121"/>
              <a:gd name="connsiteY0" fmla="*/ 0 h 6854747"/>
              <a:gd name="connsiteX1" fmla="*/ 4511121 w 4511121"/>
              <a:gd name="connsiteY1" fmla="*/ 0 h 6854747"/>
              <a:gd name="connsiteX2" fmla="*/ 4511121 w 4511121"/>
              <a:gd name="connsiteY2" fmla="*/ 6854747 h 6854747"/>
              <a:gd name="connsiteX3" fmla="*/ 0 w 4511121"/>
              <a:gd name="connsiteY3" fmla="*/ 6854747 h 6854747"/>
              <a:gd name="connsiteX4" fmla="*/ 166363 w 4511121"/>
              <a:gd name="connsiteY4" fmla="*/ 5824052 h 6854747"/>
              <a:gd name="connsiteX5" fmla="*/ 924543 w 4511121"/>
              <a:gd name="connsiteY5" fmla="*/ 5824052 h 6854747"/>
              <a:gd name="connsiteX6" fmla="*/ 924543 w 4511121"/>
              <a:gd name="connsiteY6" fmla="*/ 5824051 h 6854747"/>
              <a:gd name="connsiteX7" fmla="*/ 166363 w 4511121"/>
              <a:gd name="connsiteY7" fmla="*/ 5824051 h 6854747"/>
              <a:gd name="connsiteX8" fmla="*/ 1106416 w 4511121"/>
              <a:gd name="connsiteY8" fmla="*/ 2 h 6854747"/>
              <a:gd name="connsiteX9" fmla="*/ 1634333 w 4511121"/>
              <a:gd name="connsiteY9" fmla="*/ 2 h 6854747"/>
              <a:gd name="connsiteX10" fmla="*/ 1696892 w 4511121"/>
              <a:gd name="connsiteY10" fmla="*/ 8479 h 6854747"/>
              <a:gd name="connsiteX11" fmla="*/ 1696892 w 4511121"/>
              <a:gd name="connsiteY11" fmla="*/ 8478 h 6854747"/>
              <a:gd name="connsiteX12" fmla="*/ 1634333 w 4511121"/>
              <a:gd name="connsiteY12" fmla="*/ 1 h 6854747"/>
              <a:gd name="connsiteX13" fmla="*/ 1106416 w 4511121"/>
              <a:gd name="connsiteY13" fmla="*/ 1 h 685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1121" h="6854747">
                <a:moveTo>
                  <a:pt x="1106417" y="0"/>
                </a:moveTo>
                <a:lnTo>
                  <a:pt x="4511121" y="0"/>
                </a:lnTo>
                <a:lnTo>
                  <a:pt x="4511121" y="6854747"/>
                </a:lnTo>
                <a:lnTo>
                  <a:pt x="0" y="6854747"/>
                </a:lnTo>
                <a:lnTo>
                  <a:pt x="166363" y="5824052"/>
                </a:lnTo>
                <a:lnTo>
                  <a:pt x="924543" y="5824052"/>
                </a:lnTo>
                <a:lnTo>
                  <a:pt x="924543" y="5824051"/>
                </a:lnTo>
                <a:lnTo>
                  <a:pt x="166363" y="5824051"/>
                </a:lnTo>
                <a:lnTo>
                  <a:pt x="1106416" y="2"/>
                </a:lnTo>
                <a:lnTo>
                  <a:pt x="1634333" y="2"/>
                </a:lnTo>
                <a:lnTo>
                  <a:pt x="1696892" y="8479"/>
                </a:lnTo>
                <a:lnTo>
                  <a:pt x="1696892" y="8478"/>
                </a:lnTo>
                <a:lnTo>
                  <a:pt x="1634333" y="1"/>
                </a:lnTo>
                <a:lnTo>
                  <a:pt x="1106416" y="1"/>
                </a:lnTo>
                <a:close/>
              </a:path>
            </a:pathLst>
          </a:custGeom>
          <a:solidFill>
            <a:schemeClr val="accent3"/>
          </a:solidFill>
          <a:effectLst>
            <a:outerShdw blurRad="190500" dist="63500" dir="10800000" algn="r" rotWithShape="0">
              <a:prstClr val="black">
                <a:alpha val="40000"/>
              </a:prstClr>
            </a:outerShdw>
          </a:effectLst>
        </p:spPr>
        <p:txBody>
          <a:bodyPr wrap="square">
            <a:noAutofit/>
          </a:bodyPr>
          <a:lstStyle/>
          <a:p>
            <a:r>
              <a:rPr lang="en-US"/>
              <a:t>Click icon to add picture</a:t>
            </a:r>
            <a:endParaRPr lang="en-GB"/>
          </a:p>
        </p:txBody>
      </p:sp>
      <p:sp>
        <p:nvSpPr>
          <p:cNvPr id="9" name="Freeform 8">
            <a:extLst>
              <a:ext uri="{FF2B5EF4-FFF2-40B4-BE49-F238E27FC236}">
                <a16:creationId xmlns:a16="http://schemas.microsoft.com/office/drawing/2014/main" id="{FA439B9D-4ABB-F9CD-BAA4-095D6A45A25A}"/>
              </a:ext>
            </a:extLst>
          </p:cNvPr>
          <p:cNvSpPr/>
          <p:nvPr/>
        </p:nvSpPr>
        <p:spPr>
          <a:xfrm>
            <a:off x="5759789" y="1025"/>
            <a:ext cx="3389017" cy="5145940"/>
          </a:xfrm>
          <a:custGeom>
            <a:avLst/>
            <a:gdLst>
              <a:gd name="connsiteX0" fmla="*/ 1107467 w 4518689"/>
              <a:gd name="connsiteY0" fmla="*/ 0 h 6861253"/>
              <a:gd name="connsiteX1" fmla="*/ 4518689 w 4518689"/>
              <a:gd name="connsiteY1" fmla="*/ 0 h 6861253"/>
              <a:gd name="connsiteX2" fmla="*/ 4518689 w 4518689"/>
              <a:gd name="connsiteY2" fmla="*/ 6861253 h 6861253"/>
              <a:gd name="connsiteX3" fmla="*/ 563823 w 4518689"/>
              <a:gd name="connsiteY3" fmla="*/ 6861253 h 6861253"/>
              <a:gd name="connsiteX4" fmla="*/ 568538 w 4518689"/>
              <a:gd name="connsiteY4" fmla="*/ 6858255 h 6861253"/>
              <a:gd name="connsiteX5" fmla="*/ 568537 w 4518689"/>
              <a:gd name="connsiteY5" fmla="*/ 6858255 h 6861253"/>
              <a:gd name="connsiteX6" fmla="*/ 563822 w 4518689"/>
              <a:gd name="connsiteY6" fmla="*/ 6861253 h 6861253"/>
              <a:gd name="connsiteX7" fmla="*/ 0 w 4518689"/>
              <a:gd name="connsiteY7" fmla="*/ 6861253 h 6861253"/>
              <a:gd name="connsiteX8" fmla="*/ 167413 w 4518689"/>
              <a:gd name="connsiteY8" fmla="*/ 5824052 h 6861253"/>
              <a:gd name="connsiteX9" fmla="*/ 925593 w 4518689"/>
              <a:gd name="connsiteY9" fmla="*/ 5824052 h 6861253"/>
              <a:gd name="connsiteX10" fmla="*/ 925593 w 4518689"/>
              <a:gd name="connsiteY10" fmla="*/ 5824051 h 6861253"/>
              <a:gd name="connsiteX11" fmla="*/ 167413 w 4518689"/>
              <a:gd name="connsiteY11" fmla="*/ 5824051 h 6861253"/>
              <a:gd name="connsiteX12" fmla="*/ 1107466 w 4518689"/>
              <a:gd name="connsiteY12" fmla="*/ 2 h 6861253"/>
              <a:gd name="connsiteX13" fmla="*/ 1635383 w 4518689"/>
              <a:gd name="connsiteY13" fmla="*/ 2 h 6861253"/>
              <a:gd name="connsiteX14" fmla="*/ 1697942 w 4518689"/>
              <a:gd name="connsiteY14" fmla="*/ 8479 h 6861253"/>
              <a:gd name="connsiteX15" fmla="*/ 1697942 w 4518689"/>
              <a:gd name="connsiteY15" fmla="*/ 8478 h 6861253"/>
              <a:gd name="connsiteX16" fmla="*/ 1635383 w 4518689"/>
              <a:gd name="connsiteY16" fmla="*/ 1 h 6861253"/>
              <a:gd name="connsiteX17" fmla="*/ 1107466 w 4518689"/>
              <a:gd name="connsiteY17" fmla="*/ 1 h 686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18689" h="6861253">
                <a:moveTo>
                  <a:pt x="1107467" y="0"/>
                </a:moveTo>
                <a:lnTo>
                  <a:pt x="4518689" y="0"/>
                </a:lnTo>
                <a:lnTo>
                  <a:pt x="4518689" y="6861253"/>
                </a:lnTo>
                <a:lnTo>
                  <a:pt x="563823" y="6861253"/>
                </a:lnTo>
                <a:lnTo>
                  <a:pt x="568538" y="6858255"/>
                </a:lnTo>
                <a:lnTo>
                  <a:pt x="568537" y="6858255"/>
                </a:lnTo>
                <a:lnTo>
                  <a:pt x="563822" y="6861253"/>
                </a:lnTo>
                <a:lnTo>
                  <a:pt x="0" y="6861253"/>
                </a:lnTo>
                <a:lnTo>
                  <a:pt x="167413" y="5824052"/>
                </a:lnTo>
                <a:lnTo>
                  <a:pt x="925593" y="5824052"/>
                </a:lnTo>
                <a:lnTo>
                  <a:pt x="925593" y="5824051"/>
                </a:lnTo>
                <a:lnTo>
                  <a:pt x="167413" y="5824051"/>
                </a:lnTo>
                <a:lnTo>
                  <a:pt x="1107466" y="2"/>
                </a:lnTo>
                <a:lnTo>
                  <a:pt x="1635383" y="2"/>
                </a:lnTo>
                <a:lnTo>
                  <a:pt x="1697942" y="8479"/>
                </a:lnTo>
                <a:lnTo>
                  <a:pt x="1697942" y="8478"/>
                </a:lnTo>
                <a:lnTo>
                  <a:pt x="1635383" y="1"/>
                </a:lnTo>
                <a:lnTo>
                  <a:pt x="1107466" y="1"/>
                </a:lnTo>
                <a:close/>
              </a:path>
            </a:pathLst>
          </a:cu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grpSp>
        <p:nvGrpSpPr>
          <p:cNvPr id="3" name="Graphic 2">
            <a:extLst>
              <a:ext uri="{FF2B5EF4-FFF2-40B4-BE49-F238E27FC236}">
                <a16:creationId xmlns:a16="http://schemas.microsoft.com/office/drawing/2014/main" id="{ABDF37E0-D086-07E4-E53D-1BE5E7332528}"/>
              </a:ext>
            </a:extLst>
          </p:cNvPr>
          <p:cNvGrpSpPr>
            <a:grpSpLocks noChangeAspect="1"/>
          </p:cNvGrpSpPr>
          <p:nvPr/>
        </p:nvGrpSpPr>
        <p:grpSpPr>
          <a:xfrm>
            <a:off x="4804" y="2"/>
            <a:ext cx="468178" cy="756000"/>
            <a:chOff x="4425584" y="267785"/>
            <a:chExt cx="2950814" cy="4756864"/>
          </a:xfrm>
          <a:solidFill>
            <a:schemeClr val="accent1"/>
          </a:solidFill>
        </p:grpSpPr>
        <p:grpSp>
          <p:nvGrpSpPr>
            <p:cNvPr id="6" name="Graphic 2">
              <a:extLst>
                <a:ext uri="{FF2B5EF4-FFF2-40B4-BE49-F238E27FC236}">
                  <a16:creationId xmlns:a16="http://schemas.microsoft.com/office/drawing/2014/main" id="{180BE3B6-5EA3-D02C-4D7E-21667A11A530}"/>
                </a:ext>
              </a:extLst>
            </p:cNvPr>
            <p:cNvGrpSpPr/>
            <p:nvPr/>
          </p:nvGrpSpPr>
          <p:grpSpPr>
            <a:xfrm>
              <a:off x="5720269" y="2764575"/>
              <a:ext cx="1656129" cy="1882392"/>
              <a:chOff x="5720269" y="2764575"/>
              <a:chExt cx="1656129" cy="1882392"/>
            </a:xfrm>
            <a:solidFill>
              <a:schemeClr val="accent1"/>
            </a:solidFill>
          </p:grpSpPr>
          <p:grpSp>
            <p:nvGrpSpPr>
              <p:cNvPr id="10" name="Graphic 2">
                <a:extLst>
                  <a:ext uri="{FF2B5EF4-FFF2-40B4-BE49-F238E27FC236}">
                    <a16:creationId xmlns:a16="http://schemas.microsoft.com/office/drawing/2014/main" id="{CCBA39EC-9686-8783-321B-270D8D6F3610}"/>
                  </a:ext>
                </a:extLst>
              </p:cNvPr>
              <p:cNvGrpSpPr/>
              <p:nvPr/>
            </p:nvGrpSpPr>
            <p:grpSpPr>
              <a:xfrm>
                <a:off x="5720269" y="2764575"/>
                <a:ext cx="1656129" cy="1882392"/>
                <a:chOff x="5720269" y="2764575"/>
                <a:chExt cx="1656129" cy="1882392"/>
              </a:xfrm>
              <a:solidFill>
                <a:srgbClr val="00A099"/>
              </a:solidFill>
            </p:grpSpPr>
            <p:sp>
              <p:nvSpPr>
                <p:cNvPr id="17" name="Freeform 75">
                  <a:extLst>
                    <a:ext uri="{FF2B5EF4-FFF2-40B4-BE49-F238E27FC236}">
                      <a16:creationId xmlns:a16="http://schemas.microsoft.com/office/drawing/2014/main" id="{AA94029E-F23C-C08C-F7E1-C2F2A9C85B53}"/>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Freeform 76">
                  <a:extLst>
                    <a:ext uri="{FF2B5EF4-FFF2-40B4-BE49-F238E27FC236}">
                      <a16:creationId xmlns:a16="http://schemas.microsoft.com/office/drawing/2014/main" id="{E88982F6-91B8-45EB-3398-40D18384588B}"/>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Freeform 77">
                  <a:extLst>
                    <a:ext uri="{FF2B5EF4-FFF2-40B4-BE49-F238E27FC236}">
                      <a16:creationId xmlns:a16="http://schemas.microsoft.com/office/drawing/2014/main" id="{75D78B35-9DF4-D8E2-E0C3-83A3EEA0781E}"/>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12" name="Freeform 72">
                <a:extLst>
                  <a:ext uri="{FF2B5EF4-FFF2-40B4-BE49-F238E27FC236}">
                    <a16:creationId xmlns:a16="http://schemas.microsoft.com/office/drawing/2014/main" id="{E573A3C6-6716-D982-C1EA-0014F3817456}"/>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5" name="Freeform 73">
                <a:extLst>
                  <a:ext uri="{FF2B5EF4-FFF2-40B4-BE49-F238E27FC236}">
                    <a16:creationId xmlns:a16="http://schemas.microsoft.com/office/drawing/2014/main" id="{94F203DD-CA5D-B8E1-7DD0-E6C7CB46A1C7}"/>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Freeform 74">
                <a:extLst>
                  <a:ext uri="{FF2B5EF4-FFF2-40B4-BE49-F238E27FC236}">
                    <a16:creationId xmlns:a16="http://schemas.microsoft.com/office/drawing/2014/main" id="{5A15357C-17E0-841C-89B3-46D729D59C1E}"/>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7" name="Freeform 69">
              <a:extLst>
                <a:ext uri="{FF2B5EF4-FFF2-40B4-BE49-F238E27FC236}">
                  <a16:creationId xmlns:a16="http://schemas.microsoft.com/office/drawing/2014/main" id="{2D3083DA-E962-222E-D6F1-A29AC7213A0A}"/>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8" name="Freeform 70">
              <a:extLst>
                <a:ext uri="{FF2B5EF4-FFF2-40B4-BE49-F238E27FC236}">
                  <a16:creationId xmlns:a16="http://schemas.microsoft.com/office/drawing/2014/main" id="{6B6EAFFB-C231-8056-2DBB-B287971D9F5A}"/>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cxnSp>
        <p:nvCxnSpPr>
          <p:cNvPr id="14" name="Straight Connector 13">
            <a:extLst>
              <a:ext uri="{FF2B5EF4-FFF2-40B4-BE49-F238E27FC236}">
                <a16:creationId xmlns:a16="http://schemas.microsoft.com/office/drawing/2014/main" id="{81944E2A-9565-1EE7-221C-73D6EF2D1406}"/>
              </a:ext>
            </a:extLst>
          </p:cNvPr>
          <p:cNvCxnSpPr>
            <a:cxnSpLocks/>
          </p:cNvCxnSpPr>
          <p:nvPr/>
        </p:nvCxnSpPr>
        <p:spPr>
          <a:xfrm>
            <a:off x="6597255" y="3580360"/>
            <a:ext cx="2025253"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E047DA8-E4B7-77DD-9235-048D0755AB93}"/>
              </a:ext>
            </a:extLst>
          </p:cNvPr>
          <p:cNvSpPr>
            <a:spLocks noGrp="1"/>
          </p:cNvSpPr>
          <p:nvPr>
            <p:ph type="title"/>
          </p:nvPr>
        </p:nvSpPr>
        <p:spPr>
          <a:xfrm>
            <a:off x="6597255" y="2586189"/>
            <a:ext cx="2025253" cy="994172"/>
          </a:xfrm>
          <a:prstGeom prst="rect">
            <a:avLst/>
          </a:prstGeom>
        </p:spPr>
        <p:txBody>
          <a:bodyPr vert="horz" lIns="0" rIns="0" anchor="b"/>
          <a:lstStyle>
            <a:lvl1pPr>
              <a:defRPr sz="2400" b="0">
                <a:solidFill>
                  <a:schemeClr val="accent1"/>
                </a:solidFill>
              </a:defRPr>
            </a:lvl1pPr>
          </a:lstStyle>
          <a:p>
            <a:r>
              <a:rPr lang="en-US"/>
              <a:t>Click to edit Master title style</a:t>
            </a:r>
            <a:endParaRPr lang="en-AE"/>
          </a:p>
        </p:txBody>
      </p:sp>
    </p:spTree>
    <p:extLst>
      <p:ext uri="{BB962C8B-B14F-4D97-AF65-F5344CB8AC3E}">
        <p14:creationId xmlns:p14="http://schemas.microsoft.com/office/powerpoint/2010/main" val="2779628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70281FC-4DA5-CBF6-3888-C1BF84972142}"/>
              </a:ext>
            </a:extLst>
          </p:cNvPr>
          <p:cNvGraphicFramePr>
            <a:graphicFrameLocks noChangeAspect="1"/>
          </p:cNvGraphicFramePr>
          <p:nvPr>
            <p:custDataLst>
              <p:tags r:id="rId1"/>
            </p:custDataLst>
            <p:extLst>
              <p:ext uri="{D42A27DB-BD31-4B8C-83A1-F6EECF244321}">
                <p14:modId xmlns:p14="http://schemas.microsoft.com/office/powerpoint/2010/main" val="197808098"/>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470281FC-4DA5-CBF6-3888-C1BF84972142}"/>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4C0A6C8-0742-BFC5-6418-EB121B24625B}"/>
              </a:ext>
            </a:extLst>
          </p:cNvPr>
          <p:cNvSpPr/>
          <p:nvPr/>
        </p:nvSpPr>
        <p:spPr>
          <a:xfrm flipV="1">
            <a:off x="298174" y="756404"/>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881EF171-5190-4F6B-A583-DC58847928D4}"/>
              </a:ext>
            </a:extLst>
          </p:cNvPr>
          <p:cNvPicPr>
            <a:picLocks noChangeAspect="1"/>
          </p:cNvPicPr>
          <p:nvPr/>
        </p:nvPicPr>
        <p:blipFill rotWithShape="1">
          <a:blip r:embed="rId5" cstate="print">
            <a:alphaModFix/>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a:ext>
            </a:extLst>
          </a:blip>
          <a:srcRect/>
          <a:stretch/>
        </p:blipFill>
        <p:spPr>
          <a:xfrm>
            <a:off x="1" y="2"/>
            <a:ext cx="2001645" cy="5138927"/>
          </a:xfrm>
          <a:custGeom>
            <a:avLst/>
            <a:gdLst>
              <a:gd name="connsiteX0" fmla="*/ 0 w 2668860"/>
              <a:gd name="connsiteY0" fmla="*/ 0 h 6851903"/>
              <a:gd name="connsiteX1" fmla="*/ 2668860 w 2668860"/>
              <a:gd name="connsiteY1" fmla="*/ 0 h 6851903"/>
              <a:gd name="connsiteX2" fmla="*/ 2427625 w 2668860"/>
              <a:gd name="connsiteY2" fmla="*/ 1012659 h 6851903"/>
              <a:gd name="connsiteX3" fmla="*/ 2427624 w 2668860"/>
              <a:gd name="connsiteY3" fmla="*/ 1012658 h 6851903"/>
              <a:gd name="connsiteX4" fmla="*/ 1036595 w 2668860"/>
              <a:gd name="connsiteY4" fmla="*/ 6851903 h 6851903"/>
              <a:gd name="connsiteX5" fmla="*/ 0 w 2668860"/>
              <a:gd name="connsiteY5" fmla="*/ 6851903 h 685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8860" h="6851903">
                <a:moveTo>
                  <a:pt x="0" y="0"/>
                </a:moveTo>
                <a:lnTo>
                  <a:pt x="2668860" y="0"/>
                </a:lnTo>
                <a:lnTo>
                  <a:pt x="2427625" y="1012659"/>
                </a:lnTo>
                <a:lnTo>
                  <a:pt x="2427624" y="1012658"/>
                </a:lnTo>
                <a:lnTo>
                  <a:pt x="1036595" y="6851903"/>
                </a:lnTo>
                <a:lnTo>
                  <a:pt x="0" y="6851903"/>
                </a:lnTo>
                <a:close/>
              </a:path>
            </a:pathLst>
          </a:custGeom>
          <a:effectLst>
            <a:outerShdw blurRad="190500" dist="63500" algn="l" rotWithShape="0">
              <a:prstClr val="black">
                <a:alpha val="40000"/>
              </a:prstClr>
            </a:outerShdw>
          </a:effectLst>
        </p:spPr>
      </p:pic>
      <p:sp>
        <p:nvSpPr>
          <p:cNvPr id="5" name="Freeform 4">
            <a:extLst>
              <a:ext uri="{FF2B5EF4-FFF2-40B4-BE49-F238E27FC236}">
                <a16:creationId xmlns:a16="http://schemas.microsoft.com/office/drawing/2014/main" id="{BAE36E4B-15E5-8A2D-E35B-6E086214BBB5}"/>
              </a:ext>
            </a:extLst>
          </p:cNvPr>
          <p:cNvSpPr/>
          <p:nvPr/>
        </p:nvSpPr>
        <p:spPr>
          <a:xfrm>
            <a:off x="1" y="1"/>
            <a:ext cx="2003631" cy="5147264"/>
          </a:xfrm>
          <a:custGeom>
            <a:avLst/>
            <a:gdLst>
              <a:gd name="connsiteX0" fmla="*/ 2671508 w 2671508"/>
              <a:gd name="connsiteY0" fmla="*/ 0 h 6863018"/>
              <a:gd name="connsiteX1" fmla="*/ 2427625 w 2671508"/>
              <a:gd name="connsiteY1" fmla="*/ 1023774 h 6863018"/>
              <a:gd name="connsiteX2" fmla="*/ 2427624 w 2671508"/>
              <a:gd name="connsiteY2" fmla="*/ 1023773 h 6863018"/>
              <a:gd name="connsiteX3" fmla="*/ 1036595 w 2671508"/>
              <a:gd name="connsiteY3" fmla="*/ 6863018 h 6863018"/>
              <a:gd name="connsiteX4" fmla="*/ 0 w 2671508"/>
              <a:gd name="connsiteY4" fmla="*/ 6863018 h 6863018"/>
              <a:gd name="connsiteX5" fmla="*/ 0 w 2671508"/>
              <a:gd name="connsiteY5" fmla="*/ 1 h 6863018"/>
              <a:gd name="connsiteX6" fmla="*/ 2668167 w 2671508"/>
              <a:gd name="connsiteY6" fmla="*/ 1 h 686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1508" h="6863018">
                <a:moveTo>
                  <a:pt x="2671508" y="0"/>
                </a:moveTo>
                <a:lnTo>
                  <a:pt x="2427625" y="1023774"/>
                </a:lnTo>
                <a:lnTo>
                  <a:pt x="2427624" y="1023773"/>
                </a:lnTo>
                <a:lnTo>
                  <a:pt x="1036595" y="6863018"/>
                </a:lnTo>
                <a:lnTo>
                  <a:pt x="0" y="6863018"/>
                </a:lnTo>
                <a:lnTo>
                  <a:pt x="0" y="1"/>
                </a:lnTo>
                <a:lnTo>
                  <a:pt x="2668167" y="1"/>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AE" sz="1200" b="0" i="0">
              <a:solidFill>
                <a:schemeClr val="bg1"/>
              </a:solidFill>
              <a:latin typeface="Nexa Book" pitchFamily="2" charset="77"/>
              <a:ea typeface="Open Sans" panose="020B0606030504020204" pitchFamily="34" charset="0"/>
              <a:cs typeface="Open Sans" panose="020B0606030504020204" pitchFamily="34" charset="0"/>
            </a:endParaRPr>
          </a:p>
        </p:txBody>
      </p:sp>
      <p:pic>
        <p:nvPicPr>
          <p:cNvPr id="47" name="Graphic 46" descr="Questions with solid fill">
            <a:extLst>
              <a:ext uri="{FF2B5EF4-FFF2-40B4-BE49-F238E27FC236}">
                <a16:creationId xmlns:a16="http://schemas.microsoft.com/office/drawing/2014/main" id="{EE4A1AD7-6636-14B4-D364-9C1B63ABA4F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91301" y="816769"/>
            <a:ext cx="2031206" cy="2031206"/>
          </a:xfrm>
          <a:prstGeom prst="rect">
            <a:avLst/>
          </a:prstGeom>
        </p:spPr>
      </p:pic>
      <p:grpSp>
        <p:nvGrpSpPr>
          <p:cNvPr id="18" name="Graphic 2">
            <a:extLst>
              <a:ext uri="{FF2B5EF4-FFF2-40B4-BE49-F238E27FC236}">
                <a16:creationId xmlns:a16="http://schemas.microsoft.com/office/drawing/2014/main" id="{AC89D95A-44CB-5A85-7E39-2788EA87B3EE}"/>
              </a:ext>
            </a:extLst>
          </p:cNvPr>
          <p:cNvGrpSpPr>
            <a:grpSpLocks noChangeAspect="1"/>
          </p:cNvGrpSpPr>
          <p:nvPr/>
        </p:nvGrpSpPr>
        <p:grpSpPr>
          <a:xfrm>
            <a:off x="4804" y="2"/>
            <a:ext cx="468178" cy="756000"/>
            <a:chOff x="4425584" y="267785"/>
            <a:chExt cx="2950814" cy="4756864"/>
          </a:xfrm>
          <a:solidFill>
            <a:schemeClr val="accent1"/>
          </a:solidFill>
        </p:grpSpPr>
        <p:grpSp>
          <p:nvGrpSpPr>
            <p:cNvPr id="19" name="Graphic 2">
              <a:extLst>
                <a:ext uri="{FF2B5EF4-FFF2-40B4-BE49-F238E27FC236}">
                  <a16:creationId xmlns:a16="http://schemas.microsoft.com/office/drawing/2014/main" id="{07D5AF5A-A3F3-267D-FFAA-BC9D3C756DE6}"/>
                </a:ext>
              </a:extLst>
            </p:cNvPr>
            <p:cNvGrpSpPr/>
            <p:nvPr/>
          </p:nvGrpSpPr>
          <p:grpSpPr>
            <a:xfrm>
              <a:off x="5720269" y="2764575"/>
              <a:ext cx="1656129" cy="1882392"/>
              <a:chOff x="5720269" y="2764575"/>
              <a:chExt cx="1656129" cy="1882392"/>
            </a:xfrm>
            <a:solidFill>
              <a:schemeClr val="accent1"/>
            </a:solidFill>
          </p:grpSpPr>
          <p:grpSp>
            <p:nvGrpSpPr>
              <p:cNvPr id="23" name="Graphic 2">
                <a:extLst>
                  <a:ext uri="{FF2B5EF4-FFF2-40B4-BE49-F238E27FC236}">
                    <a16:creationId xmlns:a16="http://schemas.microsoft.com/office/drawing/2014/main" id="{F9D1F83B-5E48-47F2-871D-FCA00540AA41}"/>
                  </a:ext>
                </a:extLst>
              </p:cNvPr>
              <p:cNvGrpSpPr/>
              <p:nvPr/>
            </p:nvGrpSpPr>
            <p:grpSpPr>
              <a:xfrm>
                <a:off x="5720269" y="2764575"/>
                <a:ext cx="1656129" cy="1882392"/>
                <a:chOff x="5720269" y="2764575"/>
                <a:chExt cx="1656129" cy="1882392"/>
              </a:xfrm>
              <a:solidFill>
                <a:srgbClr val="00A099"/>
              </a:solidFill>
            </p:grpSpPr>
            <p:sp>
              <p:nvSpPr>
                <p:cNvPr id="27" name="Freeform 75">
                  <a:extLst>
                    <a:ext uri="{FF2B5EF4-FFF2-40B4-BE49-F238E27FC236}">
                      <a16:creationId xmlns:a16="http://schemas.microsoft.com/office/drawing/2014/main" id="{06E72622-92E3-EBEA-0027-609D87E2ABFF}"/>
                    </a:ext>
                  </a:extLst>
                </p:cNvPr>
                <p:cNvSpPr/>
                <p:nvPr/>
              </p:nvSpPr>
              <p:spPr>
                <a:xfrm>
                  <a:off x="5720269" y="3303518"/>
                  <a:ext cx="778114" cy="1342211"/>
                </a:xfrm>
                <a:custGeom>
                  <a:avLst/>
                  <a:gdLst>
                    <a:gd name="connsiteX0" fmla="*/ 1885 w 778114"/>
                    <a:gd name="connsiteY0" fmla="*/ 0 h 1342211"/>
                    <a:gd name="connsiteX1" fmla="*/ 210402 w 778114"/>
                    <a:gd name="connsiteY1" fmla="*/ 119959 h 1342211"/>
                    <a:gd name="connsiteX2" fmla="*/ 748720 w 778114"/>
                    <a:gd name="connsiteY2" fmla="*/ 430901 h 1342211"/>
                    <a:gd name="connsiteX3" fmla="*/ 778114 w 778114"/>
                    <a:gd name="connsiteY3" fmla="*/ 472221 h 1342211"/>
                    <a:gd name="connsiteX4" fmla="*/ 777353 w 778114"/>
                    <a:gd name="connsiteY4" fmla="*/ 1322314 h 1342211"/>
                    <a:gd name="connsiteX5" fmla="*/ 776022 w 778114"/>
                    <a:gd name="connsiteY5" fmla="*/ 1342212 h 1342211"/>
                    <a:gd name="connsiteX6" fmla="*/ 752145 w 778114"/>
                    <a:gd name="connsiteY6" fmla="*/ 1331073 h 1342211"/>
                    <a:gd name="connsiteX7" fmla="*/ 20530 w 778114"/>
                    <a:gd name="connsiteY7" fmla="*/ 907692 h 1342211"/>
                    <a:gd name="connsiteX8" fmla="*/ 839 w 778114"/>
                    <a:gd name="connsiteY8" fmla="*/ 875989 h 1342211"/>
                    <a:gd name="connsiteX9" fmla="*/ 78 w 778114"/>
                    <a:gd name="connsiteY9" fmla="*/ 15995 h 1342211"/>
                    <a:gd name="connsiteX10" fmla="*/ 1885 w 778114"/>
                    <a:gd name="connsiteY10" fmla="*/ 0 h 13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114" h="1342211">
                      <a:moveTo>
                        <a:pt x="1885" y="0"/>
                      </a:moveTo>
                      <a:cubicBezTo>
                        <a:pt x="74086" y="41510"/>
                        <a:pt x="142291" y="80639"/>
                        <a:pt x="210402" y="119959"/>
                      </a:cubicBezTo>
                      <a:cubicBezTo>
                        <a:pt x="389810" y="223638"/>
                        <a:pt x="569122" y="327508"/>
                        <a:pt x="748720" y="430901"/>
                      </a:cubicBezTo>
                      <a:cubicBezTo>
                        <a:pt x="765272" y="440422"/>
                        <a:pt x="778210" y="448134"/>
                        <a:pt x="778114" y="472221"/>
                      </a:cubicBezTo>
                      <a:cubicBezTo>
                        <a:pt x="777068" y="755553"/>
                        <a:pt x="777449" y="1038981"/>
                        <a:pt x="777353" y="1322314"/>
                      </a:cubicBezTo>
                      <a:cubicBezTo>
                        <a:pt x="777353" y="1327741"/>
                        <a:pt x="776687" y="1333167"/>
                        <a:pt x="776022" y="1342212"/>
                      </a:cubicBezTo>
                      <a:cubicBezTo>
                        <a:pt x="766889" y="1338023"/>
                        <a:pt x="759184" y="1335071"/>
                        <a:pt x="752145" y="1331073"/>
                      </a:cubicBezTo>
                      <a:cubicBezTo>
                        <a:pt x="508051" y="1190263"/>
                        <a:pt x="263958" y="1049454"/>
                        <a:pt x="20530" y="907692"/>
                      </a:cubicBezTo>
                      <a:cubicBezTo>
                        <a:pt x="10827" y="902075"/>
                        <a:pt x="839" y="886747"/>
                        <a:pt x="839" y="875989"/>
                      </a:cubicBezTo>
                      <a:cubicBezTo>
                        <a:pt x="-208" y="589324"/>
                        <a:pt x="-17" y="302659"/>
                        <a:pt x="78" y="15995"/>
                      </a:cubicBezTo>
                      <a:cubicBezTo>
                        <a:pt x="78" y="12662"/>
                        <a:pt x="743" y="9425"/>
                        <a:pt x="1885"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8" name="Freeform 76">
                  <a:extLst>
                    <a:ext uri="{FF2B5EF4-FFF2-40B4-BE49-F238E27FC236}">
                      <a16:creationId xmlns:a16="http://schemas.microsoft.com/office/drawing/2014/main" id="{2B9678C2-3912-814A-9644-8970C8799649}"/>
                    </a:ext>
                  </a:extLst>
                </p:cNvPr>
                <p:cNvSpPr/>
                <p:nvPr/>
              </p:nvSpPr>
              <p:spPr>
                <a:xfrm>
                  <a:off x="6598361" y="3303994"/>
                  <a:ext cx="778037" cy="1342973"/>
                </a:xfrm>
                <a:custGeom>
                  <a:avLst/>
                  <a:gdLst>
                    <a:gd name="connsiteX0" fmla="*/ 777466 w 778037"/>
                    <a:gd name="connsiteY0" fmla="*/ 0 h 1342973"/>
                    <a:gd name="connsiteX1" fmla="*/ 777466 w 778037"/>
                    <a:gd name="connsiteY1" fmla="*/ 36654 h 1342973"/>
                    <a:gd name="connsiteX2" fmla="*/ 778037 w 778037"/>
                    <a:gd name="connsiteY2" fmla="*/ 864279 h 1342973"/>
                    <a:gd name="connsiteX3" fmla="*/ 749784 w 778037"/>
                    <a:gd name="connsiteY3" fmla="*/ 912738 h 1342973"/>
                    <a:gd name="connsiteX4" fmla="*/ 25399 w 778037"/>
                    <a:gd name="connsiteY4" fmla="*/ 1330311 h 1342973"/>
                    <a:gd name="connsiteX5" fmla="*/ 2188 w 778037"/>
                    <a:gd name="connsiteY5" fmla="*/ 1342974 h 1342973"/>
                    <a:gd name="connsiteX6" fmla="*/ 381 w 778037"/>
                    <a:gd name="connsiteY6" fmla="*/ 1308604 h 1342973"/>
                    <a:gd name="connsiteX7" fmla="*/ 0 w 778037"/>
                    <a:gd name="connsiteY7" fmla="*/ 477648 h 1342973"/>
                    <a:gd name="connsiteX8" fmla="*/ 23116 w 778037"/>
                    <a:gd name="connsiteY8" fmla="*/ 432711 h 1342973"/>
                    <a:gd name="connsiteX9" fmla="*/ 738940 w 778037"/>
                    <a:gd name="connsiteY9" fmla="*/ 19993 h 1342973"/>
                    <a:gd name="connsiteX10" fmla="*/ 777466 w 778037"/>
                    <a:gd name="connsiteY10" fmla="*/ 0 h 13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37" h="1342973">
                      <a:moveTo>
                        <a:pt x="777466" y="0"/>
                      </a:moveTo>
                      <a:cubicBezTo>
                        <a:pt x="777466" y="15614"/>
                        <a:pt x="777466" y="26086"/>
                        <a:pt x="777466" y="36654"/>
                      </a:cubicBezTo>
                      <a:cubicBezTo>
                        <a:pt x="777466" y="312561"/>
                        <a:pt x="777085" y="588467"/>
                        <a:pt x="778037" y="864279"/>
                      </a:cubicBezTo>
                      <a:cubicBezTo>
                        <a:pt x="778132" y="888461"/>
                        <a:pt x="770522" y="900743"/>
                        <a:pt x="749784" y="912738"/>
                      </a:cubicBezTo>
                      <a:cubicBezTo>
                        <a:pt x="507974" y="1051263"/>
                        <a:pt x="266734" y="1190930"/>
                        <a:pt x="25399" y="1330311"/>
                      </a:cubicBezTo>
                      <a:cubicBezTo>
                        <a:pt x="19025" y="1334024"/>
                        <a:pt x="12366" y="1337357"/>
                        <a:pt x="2188" y="1342974"/>
                      </a:cubicBezTo>
                      <a:cubicBezTo>
                        <a:pt x="1427" y="1329264"/>
                        <a:pt x="381" y="1318982"/>
                        <a:pt x="381" y="1308604"/>
                      </a:cubicBezTo>
                      <a:cubicBezTo>
                        <a:pt x="285" y="1031651"/>
                        <a:pt x="476" y="754697"/>
                        <a:pt x="0" y="477648"/>
                      </a:cubicBezTo>
                      <a:cubicBezTo>
                        <a:pt x="0" y="457559"/>
                        <a:pt x="3234" y="444040"/>
                        <a:pt x="23116" y="432711"/>
                      </a:cubicBezTo>
                      <a:cubicBezTo>
                        <a:pt x="262072" y="295805"/>
                        <a:pt x="500459" y="157756"/>
                        <a:pt x="738940" y="19993"/>
                      </a:cubicBezTo>
                      <a:cubicBezTo>
                        <a:pt x="749975" y="13614"/>
                        <a:pt x="761580" y="8188"/>
                        <a:pt x="777466" y="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9" name="Freeform 77">
                  <a:extLst>
                    <a:ext uri="{FF2B5EF4-FFF2-40B4-BE49-F238E27FC236}">
                      <a16:creationId xmlns:a16="http://schemas.microsoft.com/office/drawing/2014/main" id="{C201A351-4259-F058-EE37-824824A0E6ED}"/>
                    </a:ext>
                  </a:extLst>
                </p:cNvPr>
                <p:cNvSpPr/>
                <p:nvPr/>
              </p:nvSpPr>
              <p:spPr>
                <a:xfrm>
                  <a:off x="5772666" y="2764575"/>
                  <a:ext cx="1551031" cy="883799"/>
                </a:xfrm>
                <a:custGeom>
                  <a:avLst/>
                  <a:gdLst>
                    <a:gd name="connsiteX0" fmla="*/ 0 w 1551031"/>
                    <a:gd name="connsiteY0" fmla="*/ 440120 h 883799"/>
                    <a:gd name="connsiteX1" fmla="*/ 199194 w 1551031"/>
                    <a:gd name="connsiteY1" fmla="*/ 324349 h 883799"/>
                    <a:gd name="connsiteX2" fmla="*/ 737228 w 1551031"/>
                    <a:gd name="connsiteY2" fmla="*/ 12645 h 883799"/>
                    <a:gd name="connsiteX3" fmla="*/ 811236 w 1551031"/>
                    <a:gd name="connsiteY3" fmla="*/ 11408 h 883799"/>
                    <a:gd name="connsiteX4" fmla="*/ 1514503 w 1551031"/>
                    <a:gd name="connsiteY4" fmla="*/ 418698 h 883799"/>
                    <a:gd name="connsiteX5" fmla="*/ 1551032 w 1551031"/>
                    <a:gd name="connsiteY5" fmla="*/ 441262 h 883799"/>
                    <a:gd name="connsiteX6" fmla="*/ 1328056 w 1551031"/>
                    <a:gd name="connsiteY6" fmla="*/ 570647 h 883799"/>
                    <a:gd name="connsiteX7" fmla="*/ 801247 w 1551031"/>
                    <a:gd name="connsiteY7" fmla="*/ 875401 h 883799"/>
                    <a:gd name="connsiteX8" fmla="*/ 748262 w 1551031"/>
                    <a:gd name="connsiteY8" fmla="*/ 874830 h 883799"/>
                    <a:gd name="connsiteX9" fmla="*/ 30726 w 1551031"/>
                    <a:gd name="connsiteY9" fmla="*/ 459732 h 883799"/>
                    <a:gd name="connsiteX10" fmla="*/ 0 w 1551031"/>
                    <a:gd name="connsiteY10" fmla="*/ 440120 h 88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1031" h="883799">
                      <a:moveTo>
                        <a:pt x="0" y="440120"/>
                      </a:moveTo>
                      <a:cubicBezTo>
                        <a:pt x="68776" y="400133"/>
                        <a:pt x="133842" y="362051"/>
                        <a:pt x="199194" y="324349"/>
                      </a:cubicBezTo>
                      <a:cubicBezTo>
                        <a:pt x="378602" y="220575"/>
                        <a:pt x="558486" y="117562"/>
                        <a:pt x="737228" y="12645"/>
                      </a:cubicBezTo>
                      <a:cubicBezTo>
                        <a:pt x="763863" y="-2968"/>
                        <a:pt x="783364" y="-4968"/>
                        <a:pt x="811236" y="11408"/>
                      </a:cubicBezTo>
                      <a:cubicBezTo>
                        <a:pt x="1045056" y="148219"/>
                        <a:pt x="1279922" y="283125"/>
                        <a:pt x="1514503" y="418698"/>
                      </a:cubicBezTo>
                      <a:cubicBezTo>
                        <a:pt x="1525443" y="424982"/>
                        <a:pt x="1536097" y="432027"/>
                        <a:pt x="1551032" y="441262"/>
                      </a:cubicBezTo>
                      <a:cubicBezTo>
                        <a:pt x="1473694" y="486104"/>
                        <a:pt x="1400923" y="528471"/>
                        <a:pt x="1328056" y="570647"/>
                      </a:cubicBezTo>
                      <a:cubicBezTo>
                        <a:pt x="1152358" y="672136"/>
                        <a:pt x="976375" y="773055"/>
                        <a:pt x="801247" y="875401"/>
                      </a:cubicBezTo>
                      <a:cubicBezTo>
                        <a:pt x="781176" y="887111"/>
                        <a:pt x="768048" y="886254"/>
                        <a:pt x="748262" y="874830"/>
                      </a:cubicBezTo>
                      <a:cubicBezTo>
                        <a:pt x="509496" y="735829"/>
                        <a:pt x="269968" y="597971"/>
                        <a:pt x="30726" y="459732"/>
                      </a:cubicBezTo>
                      <a:cubicBezTo>
                        <a:pt x="21498" y="454401"/>
                        <a:pt x="12652" y="448212"/>
                        <a:pt x="0" y="440120"/>
                      </a:cubicBezTo>
                      <a:close/>
                    </a:path>
                  </a:pathLst>
                </a:custGeom>
                <a:solidFill>
                  <a:srgbClr val="00A099"/>
                </a:solidFill>
                <a:ln w="9513" cap="flat">
                  <a:solidFill>
                    <a:srgbClr val="04A8B5"/>
                  </a:solid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4" name="Freeform 72">
                <a:extLst>
                  <a:ext uri="{FF2B5EF4-FFF2-40B4-BE49-F238E27FC236}">
                    <a16:creationId xmlns:a16="http://schemas.microsoft.com/office/drawing/2014/main" id="{A3240831-BB86-B9EF-BA18-BC2F6676C85D}"/>
                  </a:ext>
                </a:extLst>
              </p:cNvPr>
              <p:cNvSpPr/>
              <p:nvPr/>
            </p:nvSpPr>
            <p:spPr>
              <a:xfrm>
                <a:off x="6286898" y="3025075"/>
                <a:ext cx="556734" cy="323017"/>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5" name="Freeform 73">
                <a:extLst>
                  <a:ext uri="{FF2B5EF4-FFF2-40B4-BE49-F238E27FC236}">
                    <a16:creationId xmlns:a16="http://schemas.microsoft.com/office/drawing/2014/main" id="{82EB7286-1FF6-5D46-2A5F-38283459E3FF}"/>
                  </a:ext>
                </a:extLst>
              </p:cNvPr>
              <p:cNvSpPr/>
              <p:nvPr/>
            </p:nvSpPr>
            <p:spPr>
              <a:xfrm>
                <a:off x="5926295" y="3668628"/>
                <a:ext cx="303452" cy="626795"/>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6" name="Freeform 74">
                <a:extLst>
                  <a:ext uri="{FF2B5EF4-FFF2-40B4-BE49-F238E27FC236}">
                    <a16:creationId xmlns:a16="http://schemas.microsoft.com/office/drawing/2014/main" id="{9D06B755-51DE-33E0-305E-3D5826FB359F}"/>
                  </a:ext>
                </a:extLst>
              </p:cNvPr>
              <p:cNvSpPr/>
              <p:nvPr/>
            </p:nvSpPr>
            <p:spPr>
              <a:xfrm>
                <a:off x="6874988" y="3697781"/>
                <a:ext cx="266353" cy="6025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20" name="Freeform 69">
              <a:extLst>
                <a:ext uri="{FF2B5EF4-FFF2-40B4-BE49-F238E27FC236}">
                  <a16:creationId xmlns:a16="http://schemas.microsoft.com/office/drawing/2014/main" id="{5697664E-6246-DD80-7AA1-B652A4EE3AC4}"/>
                </a:ext>
              </a:extLst>
            </p:cNvPr>
            <p:cNvSpPr/>
            <p:nvPr/>
          </p:nvSpPr>
          <p:spPr>
            <a:xfrm>
              <a:off x="4425584" y="1588766"/>
              <a:ext cx="2082406" cy="3435883"/>
            </a:xfrm>
            <a:custGeom>
              <a:avLst/>
              <a:gdLst>
                <a:gd name="connsiteX0" fmla="*/ 0 w 2082406"/>
                <a:gd name="connsiteY0" fmla="*/ 3435883 h 3435883"/>
                <a:gd name="connsiteX1" fmla="*/ 1072547 w 2082406"/>
                <a:gd name="connsiteY1" fmla="*/ 2705465 h 3435883"/>
                <a:gd name="connsiteX2" fmla="*/ 1068647 w 2082406"/>
                <a:gd name="connsiteY2" fmla="*/ 1458934 h 3435883"/>
                <a:gd name="connsiteX3" fmla="*/ 2080028 w 2082406"/>
                <a:gd name="connsiteY3" fmla="*/ 878559 h 3435883"/>
                <a:gd name="connsiteX4" fmla="*/ 2082406 w 2082406"/>
                <a:gd name="connsiteY4" fmla="*/ 0 h 3435883"/>
                <a:gd name="connsiteX5" fmla="*/ 3044 w 2082406"/>
                <a:gd name="connsiteY5" fmla="*/ 1264048 h 34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2406" h="3435883">
                  <a:moveTo>
                    <a:pt x="0" y="3435883"/>
                  </a:moveTo>
                  <a:lnTo>
                    <a:pt x="1072547" y="2705465"/>
                  </a:lnTo>
                  <a:lnTo>
                    <a:pt x="1068647" y="1458934"/>
                  </a:lnTo>
                  <a:lnTo>
                    <a:pt x="2080028" y="878559"/>
                  </a:lnTo>
                  <a:lnTo>
                    <a:pt x="2082406" y="0"/>
                  </a:lnTo>
                  <a:lnTo>
                    <a:pt x="3044" y="1264048"/>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1" name="Freeform 70">
              <a:extLst>
                <a:ext uri="{FF2B5EF4-FFF2-40B4-BE49-F238E27FC236}">
                  <a16:creationId xmlns:a16="http://schemas.microsoft.com/office/drawing/2014/main" id="{224D0000-E85A-4DB6-88D9-D6B1AA97D3C5}"/>
                </a:ext>
              </a:extLst>
            </p:cNvPr>
            <p:cNvSpPr/>
            <p:nvPr/>
          </p:nvSpPr>
          <p:spPr>
            <a:xfrm>
              <a:off x="4426060" y="267785"/>
              <a:ext cx="1892344" cy="1886123"/>
            </a:xfrm>
            <a:custGeom>
              <a:avLst/>
              <a:gdLst>
                <a:gd name="connsiteX0" fmla="*/ 1892344 w 1892344"/>
                <a:gd name="connsiteY0" fmla="*/ 1129046 h 1886123"/>
                <a:gd name="connsiteX1" fmla="*/ 670925 w 1892344"/>
                <a:gd name="connsiteY1" fmla="*/ 1886123 h 1886123"/>
                <a:gd name="connsiteX2" fmla="*/ 1998 w 1892344"/>
                <a:gd name="connsiteY2" fmla="*/ 1517867 h 1886123"/>
                <a:gd name="connsiteX3" fmla="*/ 0 w 1892344"/>
                <a:gd name="connsiteY3" fmla="*/ 0 h 1886123"/>
              </a:gdLst>
              <a:ahLst/>
              <a:cxnLst>
                <a:cxn ang="0">
                  <a:pos x="connsiteX0" y="connsiteY0"/>
                </a:cxn>
                <a:cxn ang="0">
                  <a:pos x="connsiteX1" y="connsiteY1"/>
                </a:cxn>
                <a:cxn ang="0">
                  <a:pos x="connsiteX2" y="connsiteY2"/>
                </a:cxn>
                <a:cxn ang="0">
                  <a:pos x="connsiteX3" y="connsiteY3"/>
                </a:cxn>
              </a:cxnLst>
              <a:rect l="l" t="t" r="r" b="b"/>
              <a:pathLst>
                <a:path w="1892344" h="1886123">
                  <a:moveTo>
                    <a:pt x="1892344" y="1129046"/>
                  </a:moveTo>
                  <a:lnTo>
                    <a:pt x="670925" y="1886123"/>
                  </a:lnTo>
                  <a:lnTo>
                    <a:pt x="1998" y="1517867"/>
                  </a:lnTo>
                  <a:lnTo>
                    <a:pt x="0" y="0"/>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
        <p:nvSpPr>
          <p:cNvPr id="45" name="TextBox 44">
            <a:extLst>
              <a:ext uri="{FF2B5EF4-FFF2-40B4-BE49-F238E27FC236}">
                <a16:creationId xmlns:a16="http://schemas.microsoft.com/office/drawing/2014/main" id="{2F2E65BA-3CC6-053E-18B1-3637B12D11C0}"/>
              </a:ext>
            </a:extLst>
          </p:cNvPr>
          <p:cNvSpPr txBox="1"/>
          <p:nvPr/>
        </p:nvSpPr>
        <p:spPr>
          <a:xfrm>
            <a:off x="2546747" y="715779"/>
            <a:ext cx="3140308" cy="516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algn="l"/>
            <a:r>
              <a:rPr lang="en-GB" sz="3000">
                <a:solidFill>
                  <a:schemeClr val="accent1"/>
                </a:solidFill>
                <a:latin typeface="+mj-lt"/>
              </a:rPr>
              <a:t>Survey Question</a:t>
            </a:r>
          </a:p>
        </p:txBody>
      </p:sp>
      <p:sp>
        <p:nvSpPr>
          <p:cNvPr id="22" name="Title 21">
            <a:extLst>
              <a:ext uri="{FF2B5EF4-FFF2-40B4-BE49-F238E27FC236}">
                <a16:creationId xmlns:a16="http://schemas.microsoft.com/office/drawing/2014/main" id="{D2E328E9-ECC3-9B40-8F43-108C67AF3D54}"/>
              </a:ext>
            </a:extLst>
          </p:cNvPr>
          <p:cNvSpPr>
            <a:spLocks noGrp="1"/>
          </p:cNvSpPr>
          <p:nvPr>
            <p:ph type="title"/>
          </p:nvPr>
        </p:nvSpPr>
        <p:spPr>
          <a:xfrm>
            <a:off x="2546749" y="1984773"/>
            <a:ext cx="4050506" cy="586979"/>
          </a:xfrm>
          <a:prstGeom prst="rect">
            <a:avLst/>
          </a:prstGeom>
        </p:spPr>
        <p:txBody>
          <a:bodyPr vert="horz" anchor="b"/>
          <a:lstStyle>
            <a:lvl1pPr>
              <a:defRPr sz="1800"/>
            </a:lvl1pPr>
          </a:lstStyle>
          <a:p>
            <a:r>
              <a:rPr lang="en-US"/>
              <a:t>Click to edit Master title style</a:t>
            </a:r>
            <a:endParaRPr lang="en-GB"/>
          </a:p>
        </p:txBody>
      </p:sp>
      <p:sp>
        <p:nvSpPr>
          <p:cNvPr id="39" name="Text Placeholder 38">
            <a:extLst>
              <a:ext uri="{FF2B5EF4-FFF2-40B4-BE49-F238E27FC236}">
                <a16:creationId xmlns:a16="http://schemas.microsoft.com/office/drawing/2014/main" id="{766AA8F2-ED66-C8B6-F02F-A758C76F686D}"/>
              </a:ext>
            </a:extLst>
          </p:cNvPr>
          <p:cNvSpPr>
            <a:spLocks noGrp="1"/>
          </p:cNvSpPr>
          <p:nvPr>
            <p:ph type="body" sz="quarter" idx="10"/>
          </p:nvPr>
        </p:nvSpPr>
        <p:spPr>
          <a:xfrm>
            <a:off x="2546749" y="2571750"/>
            <a:ext cx="4050506" cy="2159794"/>
          </a:xfrm>
          <a:prstGeom prst="rect">
            <a:avLst/>
          </a:prstGeom>
        </p:spPr>
        <p:txBody>
          <a:bodyPr anchor="ctr"/>
          <a:lstStyle>
            <a:lvl1pPr>
              <a:spcBef>
                <a:spcPts val="450"/>
              </a:spcBef>
              <a:spcAft>
                <a:spcPts val="450"/>
              </a:spcAft>
              <a:defRPr sz="1500">
                <a:latin typeface="Nexa Book" panose="00000400000000000000" pitchFamily="50" charset="0"/>
              </a:defRPr>
            </a:lvl1pPr>
            <a:lvl2pPr>
              <a:spcBef>
                <a:spcPts val="450"/>
              </a:spcBef>
              <a:spcAft>
                <a:spcPts val="450"/>
              </a:spcAft>
              <a:defRPr sz="1500">
                <a:latin typeface="Nexa Book" panose="00000400000000000000" pitchFamily="50" charset="0"/>
              </a:defRPr>
            </a:lvl2pPr>
            <a:lvl3pPr>
              <a:spcBef>
                <a:spcPts val="450"/>
              </a:spcBef>
              <a:spcAft>
                <a:spcPts val="450"/>
              </a:spcAft>
              <a:defRPr sz="1500">
                <a:latin typeface="Nexa Book" panose="00000400000000000000" pitchFamily="50" charset="0"/>
              </a:defRPr>
            </a:lvl3pPr>
            <a:lvl4pPr>
              <a:spcBef>
                <a:spcPts val="450"/>
              </a:spcBef>
              <a:spcAft>
                <a:spcPts val="450"/>
              </a:spcAft>
              <a:defRPr sz="1500">
                <a:latin typeface="Nexa Book" panose="00000400000000000000" pitchFamily="50" charset="0"/>
              </a:defRPr>
            </a:lvl4pPr>
            <a:lvl5pPr>
              <a:spcBef>
                <a:spcPts val="450"/>
              </a:spcBef>
              <a:spcAft>
                <a:spcPts val="450"/>
              </a:spcAft>
              <a:defRPr sz="1500">
                <a:latin typeface="Nexa Book" panose="000004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88137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90716484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userDrawn="1"/>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3505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userDrawn="1">
            <p:custDataLst>
              <p:tags r:id="rId1"/>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5" cstate="screen">
            <a:alphaModFix amt="15000"/>
            <a:extLst>
              <a:ext uri="{28A0092B-C50C-407E-A947-70E740481C1C}">
                <a14:useLocalDpi xmlns:a14="http://schemas.microsoft.com/office/drawing/2010/main"/>
              </a:ext>
            </a:extLst>
          </a:blip>
          <a:srcRect/>
          <a:stretch/>
        </p:blipFill>
        <p:spPr>
          <a:xfrm>
            <a:off x="1" y="790660"/>
            <a:ext cx="2653131" cy="4270686"/>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p:txBody>
          <a:body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521495" y="715919"/>
            <a:ext cx="8182891" cy="120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2771480" y="756000"/>
            <a:ext cx="5851026"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9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9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spTree>
    <p:extLst>
      <p:ext uri="{BB962C8B-B14F-4D97-AF65-F5344CB8AC3E}">
        <p14:creationId xmlns:p14="http://schemas.microsoft.com/office/powerpoint/2010/main" val="38991824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ubtitle &amp; Chart">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811D9C0-8736-4B36-9E13-374E792E42E5}"/>
              </a:ext>
            </a:extLst>
          </p:cNvPr>
          <p:cNvSpPr>
            <a:spLocks noGrp="1"/>
          </p:cNvSpPr>
          <p:nvPr>
            <p:ph type="dt" sz="half" idx="10"/>
          </p:nvPr>
        </p:nvSpPr>
        <p:spPr/>
        <p:txBody>
          <a:bodyPr/>
          <a:lstStyle>
            <a:lvl1pPr>
              <a:defRPr b="0" i="0">
                <a:latin typeface="Nexa Book" panose="00000400000000000000" pitchFamily="50" charset="0"/>
              </a:defRPr>
            </a:lvl1pPr>
          </a:lstStyle>
          <a:p>
            <a:fld id="{CD17B91A-3060-4837-8335-3BC08082BE89}" type="datetime1">
              <a:rPr lang="en-US" smtClean="0"/>
              <a:t>7/25/2025</a:t>
            </a:fld>
            <a:endParaRPr lang="en-US"/>
          </a:p>
        </p:txBody>
      </p:sp>
      <p:sp>
        <p:nvSpPr>
          <p:cNvPr id="10" name="Footer Placeholder 9">
            <a:extLst>
              <a:ext uri="{FF2B5EF4-FFF2-40B4-BE49-F238E27FC236}">
                <a16:creationId xmlns:a16="http://schemas.microsoft.com/office/drawing/2014/main" id="{7BBBFD60-4E0B-4B1D-B796-705519ED02B4}"/>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EF5CB6E5-8237-4D44-99D5-FD01A34D5457}"/>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cxnSp>
        <p:nvCxnSpPr>
          <p:cNvPr id="19" name="Straight Connector 18">
            <a:extLst>
              <a:ext uri="{FF2B5EF4-FFF2-40B4-BE49-F238E27FC236}">
                <a16:creationId xmlns:a16="http://schemas.microsoft.com/office/drawing/2014/main" id="{463E9F05-5744-462A-AB1D-B4CFDE2B82AD}"/>
              </a:ext>
            </a:extLst>
          </p:cNvPr>
          <p:cNvCxnSpPr>
            <a:cxnSpLocks/>
          </p:cNvCxnSpPr>
          <p:nvPr userDrawn="1"/>
        </p:nvCxnSpPr>
        <p:spPr>
          <a:xfrm flipV="1">
            <a:off x="548639" y="4956617"/>
            <a:ext cx="8092440" cy="366"/>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80C4D44D-B0D2-4219-99BF-8D83E1E753B9}"/>
              </a:ext>
            </a:extLst>
          </p:cNvPr>
          <p:cNvSpPr>
            <a:spLocks noGrp="1"/>
          </p:cNvSpPr>
          <p:nvPr>
            <p:ph type="body" sz="quarter" idx="14" hasCustomPrompt="1"/>
          </p:nvPr>
        </p:nvSpPr>
        <p:spPr>
          <a:xfrm>
            <a:off x="540000" y="810000"/>
            <a:ext cx="8100000" cy="405000"/>
          </a:xfrm>
          <a:prstGeom prst="rect">
            <a:avLst/>
          </a:prstGeom>
        </p:spPr>
        <p:txBody>
          <a:bodyPr/>
          <a:lstStyle>
            <a:lvl1pPr marL="0" indent="0">
              <a:spcBef>
                <a:spcPts val="0"/>
              </a:spcBef>
              <a:buNone/>
              <a:defRPr sz="1200" b="1" i="0">
                <a:solidFill>
                  <a:schemeClr val="accent3"/>
                </a:solidFill>
                <a:latin typeface="+mj-lt"/>
              </a:defRPr>
            </a:lvl1pPr>
          </a:lstStyle>
          <a:p>
            <a:pPr lvl="0"/>
            <a:r>
              <a:rPr lang="nl-NL"/>
              <a:t>Subtitle | Chart Title</a:t>
            </a:r>
          </a:p>
        </p:txBody>
      </p:sp>
      <p:sp>
        <p:nvSpPr>
          <p:cNvPr id="2" name="Title">
            <a:extLst>
              <a:ext uri="{FF2B5EF4-FFF2-40B4-BE49-F238E27FC236}">
                <a16:creationId xmlns:a16="http://schemas.microsoft.com/office/drawing/2014/main" id="{9508DFD5-ED18-4A85-ADC0-5BC7B99B4CC7}"/>
              </a:ext>
            </a:extLst>
          </p:cNvPr>
          <p:cNvSpPr>
            <a:spLocks noGrp="1"/>
          </p:cNvSpPr>
          <p:nvPr>
            <p:ph type="title"/>
          </p:nvPr>
        </p:nvSpPr>
        <p:spPr>
          <a:xfrm>
            <a:off x="540000" y="0"/>
            <a:ext cx="8100000" cy="810000"/>
          </a:xfrm>
          <a:prstGeom prst="rect">
            <a:avLst/>
          </a:prstGeom>
        </p:spPr>
        <p:txBody>
          <a:bodyPr anchor="b"/>
          <a:lstStyle>
            <a:lvl1pPr>
              <a:defRPr sz="1600" b="1" i="0">
                <a:solidFill>
                  <a:srgbClr val="006D6F"/>
                </a:solidFill>
                <a:latin typeface="+mj-lt"/>
              </a:defRPr>
            </a:lvl1pPr>
          </a:lstStyle>
          <a:p>
            <a:endParaRPr lang="nl-BE"/>
          </a:p>
        </p:txBody>
      </p:sp>
      <p:sp>
        <p:nvSpPr>
          <p:cNvPr id="6" name="Data Source">
            <a:extLst>
              <a:ext uri="{FF2B5EF4-FFF2-40B4-BE49-F238E27FC236}">
                <a16:creationId xmlns:a16="http://schemas.microsoft.com/office/drawing/2014/main" id="{5BB432D7-6E88-6B8A-7752-5601376315B4}"/>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Tree>
    <p:extLst>
      <p:ext uri="{BB962C8B-B14F-4D97-AF65-F5344CB8AC3E}">
        <p14:creationId xmlns:p14="http://schemas.microsoft.com/office/powerpoint/2010/main" val="172195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0633CBBD-B4D1-4554-8FA6-7E0971BE6CDD}" type="datetime1">
              <a:rPr lang="en-US" smtClean="0"/>
              <a:t>7/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845773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FDB13B3-371F-4F34-83E5-544D47331F3F}"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217556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oleObject" Target="../embeddings/oleObject27.bin"/><Relationship Id="rId5" Type="http://schemas.openxmlformats.org/officeDocument/2006/relationships/slideLayout" Target="../slideLayouts/slideLayout2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tags" Target="../tags/tag28.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8" Type="http://schemas.openxmlformats.org/officeDocument/2006/relationships/slideLayout" Target="../slideLayouts/slideLayout32.xml"/><Relationship Id="rId51"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18CE4270-D9B5-48D2-813E-D95B26603E57}" type="datetime1">
              <a:rPr lang="en-US" smtClean="0"/>
              <a:t>7/25/2025</a:t>
            </a:fld>
            <a:endParaRPr lang="en-US"/>
          </a:p>
        </p:txBody>
      </p:sp>
    </p:spTree>
    <p:extLst>
      <p:ext uri="{BB962C8B-B14F-4D97-AF65-F5344CB8AC3E}">
        <p14:creationId xmlns:p14="http://schemas.microsoft.com/office/powerpoint/2010/main" val="883732927"/>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52"/>
            </p:custDataLst>
            <p:extLst>
              <p:ext uri="{D42A27DB-BD31-4B8C-83A1-F6EECF244321}">
                <p14:modId xmlns:p14="http://schemas.microsoft.com/office/powerpoint/2010/main" val="3198345103"/>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3" imgW="7772400" imgH="10058400" progId="TCLayout.ActiveDocument.1">
                  <p:embed/>
                </p:oleObj>
              </mc:Choice>
              <mc:Fallback>
                <p:oleObj name="think-cell Slide" r:id="rId53"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54"/>
                      <a:stretch>
                        <a:fillRect/>
                      </a:stretch>
                    </p:blipFill>
                    <p:spPr>
                      <a:xfrm>
                        <a:off x="1192" y="1192"/>
                        <a:ext cx="920" cy="1191"/>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7638966" y="4972050"/>
            <a:ext cx="400722"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7" name="TextBox 6">
            <a:extLst>
              <a:ext uri="{FF2B5EF4-FFF2-40B4-BE49-F238E27FC236}">
                <a16:creationId xmlns:a16="http://schemas.microsoft.com/office/drawing/2014/main" id="{5B7E8C9D-13C9-4358-B3E5-91451D3B0CC2}"/>
              </a:ext>
            </a:extLst>
          </p:cNvPr>
          <p:cNvSpPr txBox="1"/>
          <p:nvPr/>
        </p:nvSpPr>
        <p:spPr>
          <a:xfrm>
            <a:off x="8027895" y="4976308"/>
            <a:ext cx="1116106" cy="184666"/>
          </a:xfrm>
          <a:prstGeom prst="rect">
            <a:avLst/>
          </a:prstGeom>
          <a:noFill/>
        </p:spPr>
        <p:txBody>
          <a:bodyPr wrap="square" lIns="27000" rIns="27000">
            <a:spAutoFit/>
          </a:bodyPr>
          <a:lstStyle/>
          <a:p>
            <a:pPr algn="r"/>
            <a:r>
              <a:rPr lang="en-US" sz="600" b="0" i="0">
                <a:solidFill>
                  <a:schemeClr val="bg1">
                    <a:lumMod val="50000"/>
                  </a:schemeClr>
                </a:solidFill>
                <a:latin typeface="Nexa Book" panose="00000400000000000000" pitchFamily="50" charset="0"/>
              </a:rPr>
              <a:t>PRICING</a:t>
            </a:r>
            <a:r>
              <a:rPr lang="en-US" sz="600" b="0" i="0">
                <a:solidFill>
                  <a:schemeClr val="accent3"/>
                </a:solidFill>
                <a:latin typeface="+mj-lt"/>
              </a:rPr>
              <a:t>ONE</a:t>
            </a:r>
            <a:r>
              <a:rPr lang="en-US" sz="600" b="0" i="0">
                <a:solidFill>
                  <a:schemeClr val="bg1">
                    <a:lumMod val="50000"/>
                  </a:schemeClr>
                </a:solidFill>
                <a:latin typeface="Nexa Book" panose="00000400000000000000" pitchFamily="50" charset="0"/>
              </a:rPr>
              <a:t> </a:t>
            </a:r>
            <a:r>
              <a:rPr lang="en-US" sz="600" b="0" i="0">
                <a:solidFill>
                  <a:schemeClr val="bg1">
                    <a:lumMod val="50000"/>
                  </a:schemeClr>
                </a:solidFill>
                <a:latin typeface="Nexa Book" pitchFamily="2" charset="77"/>
              </a:rPr>
              <a:t>Confidential</a:t>
            </a:r>
            <a:endParaRPr lang="en-US" sz="600" b="0" i="0">
              <a:solidFill>
                <a:schemeClr val="tx1">
                  <a:tint val="75000"/>
                </a:schemeClr>
              </a:solidFill>
              <a:latin typeface="Nexa Book" pitchFamily="2" charset="77"/>
            </a:endParaRPr>
          </a:p>
        </p:txBody>
      </p:sp>
      <p:sp>
        <p:nvSpPr>
          <p:cNvPr id="8" name="Date Placeholder 7">
            <a:extLst>
              <a:ext uri="{FF2B5EF4-FFF2-40B4-BE49-F238E27FC236}">
                <a16:creationId xmlns:a16="http://schemas.microsoft.com/office/drawing/2014/main" id="{E79A2962-62B5-468D-9268-B9C7896028CE}"/>
              </a:ext>
            </a:extLst>
          </p:cNvPr>
          <p:cNvSpPr>
            <a:spLocks noGrp="1"/>
          </p:cNvSpPr>
          <p:nvPr>
            <p:ph type="dt" sz="half" idx="2"/>
          </p:nvPr>
        </p:nvSpPr>
        <p:spPr>
          <a:xfrm>
            <a:off x="7024385" y="4972050"/>
            <a:ext cx="609508"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grpSp>
        <p:nvGrpSpPr>
          <p:cNvPr id="9" name="Group 8">
            <a:extLst>
              <a:ext uri="{FF2B5EF4-FFF2-40B4-BE49-F238E27FC236}">
                <a16:creationId xmlns:a16="http://schemas.microsoft.com/office/drawing/2014/main" id="{CEBC34F0-0D86-A441-2116-F47E5238DF4F}"/>
              </a:ext>
            </a:extLst>
          </p:cNvPr>
          <p:cNvGrpSpPr>
            <a:grpSpLocks noChangeAspect="1"/>
          </p:cNvGrpSpPr>
          <p:nvPr/>
        </p:nvGrpSpPr>
        <p:grpSpPr>
          <a:xfrm>
            <a:off x="-1" y="-9332"/>
            <a:ext cx="469047" cy="756000"/>
            <a:chOff x="-1" y="-12441"/>
            <a:chExt cx="653922" cy="1053977"/>
          </a:xfrm>
        </p:grpSpPr>
        <p:sp>
          <p:nvSpPr>
            <p:cNvPr id="10" name="Freeform 9">
              <a:extLst>
                <a:ext uri="{FF2B5EF4-FFF2-40B4-BE49-F238E27FC236}">
                  <a16:creationId xmlns:a16="http://schemas.microsoft.com/office/drawing/2014/main" id="{6E642D8F-FD02-8E6C-4906-C958269150EA}"/>
                </a:ext>
              </a:extLst>
            </p:cNvPr>
            <p:cNvSpPr/>
            <p:nvPr userDrawn="1"/>
          </p:nvSpPr>
          <p:spPr>
            <a:xfrm>
              <a:off x="286911" y="660185"/>
              <a:ext cx="172436" cy="297393"/>
            </a:xfrm>
            <a:custGeom>
              <a:avLst/>
              <a:gdLst>
                <a:gd name="connsiteX0" fmla="*/ 418 w 172436"/>
                <a:gd name="connsiteY0" fmla="*/ 0 h 297393"/>
                <a:gd name="connsiteX1" fmla="*/ 46627 w 172436"/>
                <a:gd name="connsiteY1" fmla="*/ 26579 h 297393"/>
                <a:gd name="connsiteX2" fmla="*/ 165922 w 172436"/>
                <a:gd name="connsiteY2" fmla="*/ 95475 h 297393"/>
                <a:gd name="connsiteX3" fmla="*/ 172436 w 172436"/>
                <a:gd name="connsiteY3" fmla="*/ 104630 h 297393"/>
                <a:gd name="connsiteX4" fmla="*/ 172268 w 172436"/>
                <a:gd name="connsiteY4" fmla="*/ 292985 h 297393"/>
                <a:gd name="connsiteX5" fmla="*/ 171972 w 172436"/>
                <a:gd name="connsiteY5" fmla="*/ 297394 h 297393"/>
                <a:gd name="connsiteX6" fmla="*/ 166681 w 172436"/>
                <a:gd name="connsiteY6" fmla="*/ 294926 h 297393"/>
                <a:gd name="connsiteX7" fmla="*/ 4550 w 172436"/>
                <a:gd name="connsiteY7" fmla="*/ 201117 h 297393"/>
                <a:gd name="connsiteX8" fmla="*/ 186 w 172436"/>
                <a:gd name="connsiteY8" fmla="*/ 194093 h 297393"/>
                <a:gd name="connsiteX9" fmla="*/ 17 w 172436"/>
                <a:gd name="connsiteY9" fmla="*/ 3544 h 297393"/>
                <a:gd name="connsiteX10" fmla="*/ 418 w 172436"/>
                <a:gd name="connsiteY10" fmla="*/ 0 h 2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6" h="297393">
                  <a:moveTo>
                    <a:pt x="418" y="0"/>
                  </a:moveTo>
                  <a:cubicBezTo>
                    <a:pt x="16418" y="9197"/>
                    <a:pt x="31533" y="17867"/>
                    <a:pt x="46627" y="26579"/>
                  </a:cubicBezTo>
                  <a:cubicBezTo>
                    <a:pt x="86385" y="49552"/>
                    <a:pt x="126122" y="72566"/>
                    <a:pt x="165922" y="95475"/>
                  </a:cubicBezTo>
                  <a:cubicBezTo>
                    <a:pt x="169590" y="97584"/>
                    <a:pt x="172457" y="99293"/>
                    <a:pt x="172436" y="104630"/>
                  </a:cubicBezTo>
                  <a:cubicBezTo>
                    <a:pt x="172204" y="167408"/>
                    <a:pt x="172289" y="230207"/>
                    <a:pt x="172268" y="292985"/>
                  </a:cubicBezTo>
                  <a:cubicBezTo>
                    <a:pt x="172268" y="294187"/>
                    <a:pt x="172120" y="295390"/>
                    <a:pt x="171972" y="297394"/>
                  </a:cubicBezTo>
                  <a:cubicBezTo>
                    <a:pt x="169949" y="296466"/>
                    <a:pt x="168241" y="295812"/>
                    <a:pt x="166681" y="294926"/>
                  </a:cubicBezTo>
                  <a:cubicBezTo>
                    <a:pt x="112588" y="263726"/>
                    <a:pt x="58495" y="232527"/>
                    <a:pt x="4550" y="201117"/>
                  </a:cubicBezTo>
                  <a:cubicBezTo>
                    <a:pt x="2399" y="199873"/>
                    <a:pt x="186" y="196476"/>
                    <a:pt x="186" y="194093"/>
                  </a:cubicBezTo>
                  <a:cubicBezTo>
                    <a:pt x="-46" y="130576"/>
                    <a:pt x="-4" y="67060"/>
                    <a:pt x="17" y="3544"/>
                  </a:cubicBezTo>
                  <a:cubicBezTo>
                    <a:pt x="17" y="2827"/>
                    <a:pt x="165" y="2088"/>
                    <a:pt x="418"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1" name="Freeform 10">
              <a:extLst>
                <a:ext uri="{FF2B5EF4-FFF2-40B4-BE49-F238E27FC236}">
                  <a16:creationId xmlns:a16="http://schemas.microsoft.com/office/drawing/2014/main" id="{6F719CEF-6F38-DFFB-857E-15693A32263B}"/>
                </a:ext>
              </a:extLst>
            </p:cNvPr>
            <p:cNvSpPr/>
            <p:nvPr/>
          </p:nvSpPr>
          <p:spPr>
            <a:xfrm>
              <a:off x="481503" y="660249"/>
              <a:ext cx="172418" cy="297583"/>
            </a:xfrm>
            <a:custGeom>
              <a:avLst/>
              <a:gdLst>
                <a:gd name="connsiteX0" fmla="*/ 172292 w 172418"/>
                <a:gd name="connsiteY0" fmla="*/ 21 h 297583"/>
                <a:gd name="connsiteX1" fmla="*/ 172292 w 172418"/>
                <a:gd name="connsiteY1" fmla="*/ 8143 h 297583"/>
                <a:gd name="connsiteX2" fmla="*/ 172419 w 172418"/>
                <a:gd name="connsiteY2" fmla="*/ 191519 h 297583"/>
                <a:gd name="connsiteX3" fmla="*/ 166158 w 172418"/>
                <a:gd name="connsiteY3" fmla="*/ 202256 h 297583"/>
                <a:gd name="connsiteX4" fmla="*/ 5629 w 172418"/>
                <a:gd name="connsiteY4" fmla="*/ 294778 h 297583"/>
                <a:gd name="connsiteX5" fmla="*/ 485 w 172418"/>
                <a:gd name="connsiteY5" fmla="*/ 297583 h 297583"/>
                <a:gd name="connsiteX6" fmla="*/ 84 w 172418"/>
                <a:gd name="connsiteY6" fmla="*/ 289968 h 297583"/>
                <a:gd name="connsiteX7" fmla="*/ 0 w 172418"/>
                <a:gd name="connsiteY7" fmla="*/ 105853 h 297583"/>
                <a:gd name="connsiteX8" fmla="*/ 5123 w 172418"/>
                <a:gd name="connsiteY8" fmla="*/ 95897 h 297583"/>
                <a:gd name="connsiteX9" fmla="*/ 163755 w 172418"/>
                <a:gd name="connsiteY9" fmla="*/ 4451 h 297583"/>
                <a:gd name="connsiteX10" fmla="*/ 172292 w 172418"/>
                <a:gd name="connsiteY10" fmla="*/ 0 h 29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18" h="297583">
                  <a:moveTo>
                    <a:pt x="172292" y="21"/>
                  </a:moveTo>
                  <a:lnTo>
                    <a:pt x="172292" y="8143"/>
                  </a:lnTo>
                  <a:cubicBezTo>
                    <a:pt x="172292" y="69275"/>
                    <a:pt x="172208" y="130408"/>
                    <a:pt x="172419" y="191519"/>
                  </a:cubicBezTo>
                  <a:cubicBezTo>
                    <a:pt x="172419" y="196877"/>
                    <a:pt x="170754" y="199598"/>
                    <a:pt x="166158" y="202256"/>
                  </a:cubicBezTo>
                  <a:cubicBezTo>
                    <a:pt x="112571" y="232949"/>
                    <a:pt x="59110" y="263895"/>
                    <a:pt x="5629" y="294778"/>
                  </a:cubicBezTo>
                  <a:cubicBezTo>
                    <a:pt x="4216" y="295601"/>
                    <a:pt x="2740" y="296339"/>
                    <a:pt x="485" y="297583"/>
                  </a:cubicBezTo>
                  <a:cubicBezTo>
                    <a:pt x="316" y="294546"/>
                    <a:pt x="84" y="292268"/>
                    <a:pt x="84" y="289968"/>
                  </a:cubicBezTo>
                  <a:cubicBezTo>
                    <a:pt x="84" y="228604"/>
                    <a:pt x="84" y="167239"/>
                    <a:pt x="0" y="105853"/>
                  </a:cubicBezTo>
                  <a:cubicBezTo>
                    <a:pt x="0" y="101402"/>
                    <a:pt x="717" y="98407"/>
                    <a:pt x="5123" y="95897"/>
                  </a:cubicBezTo>
                  <a:cubicBezTo>
                    <a:pt x="58077" y="65562"/>
                    <a:pt x="110905" y="34975"/>
                    <a:pt x="163755" y="4451"/>
                  </a:cubicBezTo>
                  <a:cubicBezTo>
                    <a:pt x="166200" y="3038"/>
                    <a:pt x="168751" y="1835"/>
                    <a:pt x="172292" y="0"/>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2" name="Freeform 11">
              <a:extLst>
                <a:ext uri="{FF2B5EF4-FFF2-40B4-BE49-F238E27FC236}">
                  <a16:creationId xmlns:a16="http://schemas.microsoft.com/office/drawing/2014/main" id="{D6D8F994-7445-5B73-86FF-CF586DD3917B}"/>
                </a:ext>
              </a:extLst>
            </p:cNvPr>
            <p:cNvSpPr/>
            <p:nvPr/>
          </p:nvSpPr>
          <p:spPr>
            <a:xfrm>
              <a:off x="298543" y="540772"/>
              <a:ext cx="343720" cy="195823"/>
            </a:xfrm>
            <a:custGeom>
              <a:avLst/>
              <a:gdLst>
                <a:gd name="connsiteX0" fmla="*/ 0 w 343720"/>
                <a:gd name="connsiteY0" fmla="*/ 97517 h 195823"/>
                <a:gd name="connsiteX1" fmla="*/ 44143 w 343720"/>
                <a:gd name="connsiteY1" fmla="*/ 71866 h 195823"/>
                <a:gd name="connsiteX2" fmla="*/ 163375 w 343720"/>
                <a:gd name="connsiteY2" fmla="*/ 2802 h 195823"/>
                <a:gd name="connsiteX3" fmla="*/ 179776 w 343720"/>
                <a:gd name="connsiteY3" fmla="*/ 2528 h 195823"/>
                <a:gd name="connsiteX4" fmla="*/ 335626 w 343720"/>
                <a:gd name="connsiteY4" fmla="*/ 92771 h 195823"/>
                <a:gd name="connsiteX5" fmla="*/ 343721 w 343720"/>
                <a:gd name="connsiteY5" fmla="*/ 97770 h 195823"/>
                <a:gd name="connsiteX6" fmla="*/ 294308 w 343720"/>
                <a:gd name="connsiteY6" fmla="*/ 126438 h 195823"/>
                <a:gd name="connsiteX7" fmla="*/ 177563 w 343720"/>
                <a:gd name="connsiteY7" fmla="*/ 193962 h 195823"/>
                <a:gd name="connsiteX8" fmla="*/ 165821 w 343720"/>
                <a:gd name="connsiteY8" fmla="*/ 193836 h 195823"/>
                <a:gd name="connsiteX9" fmla="*/ 6788 w 343720"/>
                <a:gd name="connsiteY9" fmla="*/ 101842 h 195823"/>
                <a:gd name="connsiteX10" fmla="*/ 0 w 343720"/>
                <a:gd name="connsiteY10" fmla="*/ 97517 h 19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720" h="195823">
                  <a:moveTo>
                    <a:pt x="0" y="97517"/>
                  </a:moveTo>
                  <a:cubicBezTo>
                    <a:pt x="15241" y="88657"/>
                    <a:pt x="29661" y="80220"/>
                    <a:pt x="44143" y="71866"/>
                  </a:cubicBezTo>
                  <a:cubicBezTo>
                    <a:pt x="83901" y="48873"/>
                    <a:pt x="123765" y="26048"/>
                    <a:pt x="163375" y="2802"/>
                  </a:cubicBezTo>
                  <a:cubicBezTo>
                    <a:pt x="169278" y="-658"/>
                    <a:pt x="173599" y="-1101"/>
                    <a:pt x="179776" y="2528"/>
                  </a:cubicBezTo>
                  <a:cubicBezTo>
                    <a:pt x="231592" y="32841"/>
                    <a:pt x="283641" y="62732"/>
                    <a:pt x="335626" y="92771"/>
                  </a:cubicBezTo>
                  <a:cubicBezTo>
                    <a:pt x="338050" y="94163"/>
                    <a:pt x="340411" y="95724"/>
                    <a:pt x="343721" y="97770"/>
                  </a:cubicBezTo>
                  <a:cubicBezTo>
                    <a:pt x="326582" y="107706"/>
                    <a:pt x="310455" y="117093"/>
                    <a:pt x="294308" y="126438"/>
                  </a:cubicBezTo>
                  <a:cubicBezTo>
                    <a:pt x="255371" y="148925"/>
                    <a:pt x="216372" y="171286"/>
                    <a:pt x="177563" y="193962"/>
                  </a:cubicBezTo>
                  <a:cubicBezTo>
                    <a:pt x="173115" y="196557"/>
                    <a:pt x="170205" y="196367"/>
                    <a:pt x="165821" y="193836"/>
                  </a:cubicBezTo>
                  <a:cubicBezTo>
                    <a:pt x="112887" y="163016"/>
                    <a:pt x="59827" y="132471"/>
                    <a:pt x="6788" y="101842"/>
                  </a:cubicBezTo>
                  <a:cubicBezTo>
                    <a:pt x="4743" y="100660"/>
                    <a:pt x="2804" y="99289"/>
                    <a:pt x="0" y="97517"/>
                  </a:cubicBezTo>
                  <a:close/>
                </a:path>
              </a:pathLst>
            </a:custGeom>
            <a:solidFill>
              <a:srgbClr val="00A099"/>
            </a:solidFill>
            <a:ln w="453" cap="flat">
              <a:solidFill>
                <a:srgbClr val="04A8B5"/>
              </a:solidFill>
              <a:prstDash val="solid"/>
              <a:miter/>
            </a:ln>
          </p:spPr>
          <p:txBody>
            <a:bodyPr rtlCol="0" anchor="ctr"/>
            <a:lstStyle/>
            <a:p>
              <a:endParaRPr lang="en-US" sz="1013" b="0" i="0">
                <a:latin typeface="Nexa Book" pitchFamily="2" charset="77"/>
              </a:endParaRPr>
            </a:p>
          </p:txBody>
        </p:sp>
        <p:sp>
          <p:nvSpPr>
            <p:cNvPr id="13" name="Freeform 12">
              <a:extLst>
                <a:ext uri="{FF2B5EF4-FFF2-40B4-BE49-F238E27FC236}">
                  <a16:creationId xmlns:a16="http://schemas.microsoft.com/office/drawing/2014/main" id="{A6A1B091-7952-82E0-226C-14D34CD0804A}"/>
                </a:ext>
              </a:extLst>
            </p:cNvPr>
            <p:cNvSpPr/>
            <p:nvPr/>
          </p:nvSpPr>
          <p:spPr>
            <a:xfrm>
              <a:off x="412522" y="598536"/>
              <a:ext cx="123408" cy="71567"/>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Freeform 13">
              <a:extLst>
                <a:ext uri="{FF2B5EF4-FFF2-40B4-BE49-F238E27FC236}">
                  <a16:creationId xmlns:a16="http://schemas.microsoft.com/office/drawing/2014/main" id="{5043DE0B-B68A-8ED7-248B-EBC50E5DC0C6}"/>
                </a:ext>
              </a:extLst>
            </p:cNvPr>
            <p:cNvSpPr/>
            <p:nvPr/>
          </p:nvSpPr>
          <p:spPr>
            <a:xfrm>
              <a:off x="332589" y="741054"/>
              <a:ext cx="67226" cy="138914"/>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Freeform 14">
              <a:extLst>
                <a:ext uri="{FF2B5EF4-FFF2-40B4-BE49-F238E27FC236}">
                  <a16:creationId xmlns:a16="http://schemas.microsoft.com/office/drawing/2014/main" id="{EAF64219-666E-A102-563F-42073AB1B74A}"/>
                </a:ext>
              </a:extLst>
            </p:cNvPr>
            <p:cNvSpPr/>
            <p:nvPr/>
          </p:nvSpPr>
          <p:spPr>
            <a:xfrm>
              <a:off x="542805" y="747538"/>
              <a:ext cx="58983" cy="133506"/>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16" name="Freeform 15">
              <a:extLst>
                <a:ext uri="{FF2B5EF4-FFF2-40B4-BE49-F238E27FC236}">
                  <a16:creationId xmlns:a16="http://schemas.microsoft.com/office/drawing/2014/main" id="{6AE0CAE5-6737-8510-EF96-DC50F0C8E02E}"/>
                </a:ext>
              </a:extLst>
            </p:cNvPr>
            <p:cNvSpPr/>
            <p:nvPr/>
          </p:nvSpPr>
          <p:spPr>
            <a:xfrm>
              <a:off x="-1" y="280248"/>
              <a:ext cx="461498" cy="761288"/>
            </a:xfrm>
            <a:custGeom>
              <a:avLst/>
              <a:gdLst>
                <a:gd name="connsiteX0" fmla="*/ 0 w 461498"/>
                <a:gd name="connsiteY0" fmla="*/ 761288 h 761288"/>
                <a:gd name="connsiteX1" fmla="*/ 237685 w 461498"/>
                <a:gd name="connsiteY1" fmla="*/ 599449 h 761288"/>
                <a:gd name="connsiteX2" fmla="*/ 236820 w 461498"/>
                <a:gd name="connsiteY2" fmla="*/ 323256 h 761288"/>
                <a:gd name="connsiteX3" fmla="*/ 460950 w 461498"/>
                <a:gd name="connsiteY3" fmla="*/ 194662 h 761288"/>
                <a:gd name="connsiteX4" fmla="*/ 461498 w 461498"/>
                <a:gd name="connsiteY4" fmla="*/ 0 h 761288"/>
                <a:gd name="connsiteX5" fmla="*/ 696 w 461498"/>
                <a:gd name="connsiteY5" fmla="*/ 280075 h 761288"/>
                <a:gd name="connsiteX6" fmla="*/ 0 w 461498"/>
                <a:gd name="connsiteY6" fmla="*/ 761288 h 76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498" h="761288">
                  <a:moveTo>
                    <a:pt x="0" y="761288"/>
                  </a:moveTo>
                  <a:lnTo>
                    <a:pt x="237685" y="599449"/>
                  </a:lnTo>
                  <a:lnTo>
                    <a:pt x="236820" y="323256"/>
                  </a:lnTo>
                  <a:lnTo>
                    <a:pt x="460950" y="194662"/>
                  </a:lnTo>
                  <a:lnTo>
                    <a:pt x="461498" y="0"/>
                  </a:lnTo>
                  <a:lnTo>
                    <a:pt x="696" y="280075"/>
                  </a:lnTo>
                  <a:lnTo>
                    <a:pt x="0" y="761288"/>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sp>
          <p:nvSpPr>
            <p:cNvPr id="17" name="Freeform 16">
              <a:extLst>
                <a:ext uri="{FF2B5EF4-FFF2-40B4-BE49-F238E27FC236}">
                  <a16:creationId xmlns:a16="http://schemas.microsoft.com/office/drawing/2014/main" id="{3D546042-5181-94E7-B31B-EE46334167AB}"/>
                </a:ext>
              </a:extLst>
            </p:cNvPr>
            <p:cNvSpPr/>
            <p:nvPr/>
          </p:nvSpPr>
          <p:spPr>
            <a:xfrm>
              <a:off x="104" y="-12441"/>
              <a:ext cx="419379" cy="417907"/>
            </a:xfrm>
            <a:custGeom>
              <a:avLst/>
              <a:gdLst>
                <a:gd name="connsiteX0" fmla="*/ 419379 w 419379"/>
                <a:gd name="connsiteY0" fmla="*/ 250163 h 417907"/>
                <a:gd name="connsiteX1" fmla="*/ 148703 w 419379"/>
                <a:gd name="connsiteY1" fmla="*/ 417908 h 417907"/>
                <a:gd name="connsiteX2" fmla="*/ 443 w 419379"/>
                <a:gd name="connsiteY2" fmla="*/ 336313 h 417907"/>
                <a:gd name="connsiteX3" fmla="*/ 0 w 419379"/>
                <a:gd name="connsiteY3" fmla="*/ 0 h 417907"/>
                <a:gd name="connsiteX4" fmla="*/ 419379 w 419379"/>
                <a:gd name="connsiteY4" fmla="*/ 250163 h 4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79" h="417907">
                  <a:moveTo>
                    <a:pt x="419379" y="250163"/>
                  </a:moveTo>
                  <a:lnTo>
                    <a:pt x="148703" y="417908"/>
                  </a:lnTo>
                  <a:lnTo>
                    <a:pt x="443" y="336313"/>
                  </a:lnTo>
                  <a:lnTo>
                    <a:pt x="0" y="0"/>
                  </a:lnTo>
                  <a:lnTo>
                    <a:pt x="419379" y="250163"/>
                  </a:lnTo>
                  <a:close/>
                </a:path>
              </a:pathLst>
            </a:custGeom>
            <a:solidFill>
              <a:srgbClr val="575756"/>
            </a:solidFill>
            <a:ln w="453" cap="flat">
              <a:noFill/>
              <a:prstDash val="solid"/>
              <a:miter/>
            </a:ln>
          </p:spPr>
          <p:txBody>
            <a:bodyPr rtlCol="0" anchor="ctr"/>
            <a:lstStyle/>
            <a:p>
              <a:endParaRPr lang="en-US" sz="1013" b="0" i="0">
                <a:latin typeface="Nexa Book" pitchFamily="2" charset="77"/>
              </a:endParaRPr>
            </a:p>
          </p:txBody>
        </p:sp>
      </p:grpSp>
      <p:grpSp>
        <p:nvGrpSpPr>
          <p:cNvPr id="18" name="Group 17">
            <a:extLst>
              <a:ext uri="{FF2B5EF4-FFF2-40B4-BE49-F238E27FC236}">
                <a16:creationId xmlns:a16="http://schemas.microsoft.com/office/drawing/2014/main" id="{28AA2510-84D8-077A-5103-F5B14632F42F}"/>
              </a:ext>
            </a:extLst>
          </p:cNvPr>
          <p:cNvGrpSpPr/>
          <p:nvPr/>
        </p:nvGrpSpPr>
        <p:grpSpPr>
          <a:xfrm>
            <a:off x="2337" y="4972051"/>
            <a:ext cx="544631" cy="177437"/>
            <a:chOff x="61151" y="6718048"/>
            <a:chExt cx="726174" cy="236582"/>
          </a:xfrm>
        </p:grpSpPr>
        <p:sp>
          <p:nvSpPr>
            <p:cNvPr id="19" name="Freeform 18">
              <a:extLst>
                <a:ext uri="{FF2B5EF4-FFF2-40B4-BE49-F238E27FC236}">
                  <a16:creationId xmlns:a16="http://schemas.microsoft.com/office/drawing/2014/main" id="{3C25AEC9-071D-725A-4B03-9E4B973E66AB}"/>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0" name="Freeform 19">
              <a:extLst>
                <a:ext uri="{FF2B5EF4-FFF2-40B4-BE49-F238E27FC236}">
                  <a16:creationId xmlns:a16="http://schemas.microsoft.com/office/drawing/2014/main" id="{07371303-DD01-0C0A-CABA-67DFFFC9A7C4}"/>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1" name="Freeform 20">
              <a:extLst>
                <a:ext uri="{FF2B5EF4-FFF2-40B4-BE49-F238E27FC236}">
                  <a16:creationId xmlns:a16="http://schemas.microsoft.com/office/drawing/2014/main" id="{56A4F206-2BD3-3928-C081-F79FA7D3D3A6}"/>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22" name="Freeform 21">
              <a:extLst>
                <a:ext uri="{FF2B5EF4-FFF2-40B4-BE49-F238E27FC236}">
                  <a16:creationId xmlns:a16="http://schemas.microsoft.com/office/drawing/2014/main" id="{6F2B041D-50C4-FBDF-25DE-552893B4629F}"/>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23" name="Freeform 22">
              <a:extLst>
                <a:ext uri="{FF2B5EF4-FFF2-40B4-BE49-F238E27FC236}">
                  <a16:creationId xmlns:a16="http://schemas.microsoft.com/office/drawing/2014/main" id="{8B5D850D-9927-13B8-4C26-7ECECAE1E3AB}"/>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24" name="Freeform 23">
              <a:extLst>
                <a:ext uri="{FF2B5EF4-FFF2-40B4-BE49-F238E27FC236}">
                  <a16:creationId xmlns:a16="http://schemas.microsoft.com/office/drawing/2014/main" id="{F81FA937-37B5-1CB2-3F28-3B261344C253}"/>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25" name="Freeform 24">
              <a:extLst>
                <a:ext uri="{FF2B5EF4-FFF2-40B4-BE49-F238E27FC236}">
                  <a16:creationId xmlns:a16="http://schemas.microsoft.com/office/drawing/2014/main" id="{7261EFDC-F301-EA6F-637C-479C98F85CD6}"/>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6" name="Freeform 25">
              <a:extLst>
                <a:ext uri="{FF2B5EF4-FFF2-40B4-BE49-F238E27FC236}">
                  <a16:creationId xmlns:a16="http://schemas.microsoft.com/office/drawing/2014/main" id="{2F5A7E50-99D6-E700-ED9D-397466413306}"/>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7" name="Freeform 26">
              <a:extLst>
                <a:ext uri="{FF2B5EF4-FFF2-40B4-BE49-F238E27FC236}">
                  <a16:creationId xmlns:a16="http://schemas.microsoft.com/office/drawing/2014/main" id="{526E3B70-8091-BD1D-AB4D-B244DBEA6F7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8" name="Freeform 27">
              <a:extLst>
                <a:ext uri="{FF2B5EF4-FFF2-40B4-BE49-F238E27FC236}">
                  <a16:creationId xmlns:a16="http://schemas.microsoft.com/office/drawing/2014/main" id="{285D7E07-4063-8919-C488-9DF15D0100C6}"/>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29" name="Freeform 28">
              <a:extLst>
                <a:ext uri="{FF2B5EF4-FFF2-40B4-BE49-F238E27FC236}">
                  <a16:creationId xmlns:a16="http://schemas.microsoft.com/office/drawing/2014/main" id="{C9FB357A-51A4-470F-1602-66ACD4E547FA}"/>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0" name="Freeform 29">
              <a:extLst>
                <a:ext uri="{FF2B5EF4-FFF2-40B4-BE49-F238E27FC236}">
                  <a16:creationId xmlns:a16="http://schemas.microsoft.com/office/drawing/2014/main" id="{4F61FF0F-5EF4-8A5F-D147-8AD7E10E46E2}"/>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1" name="Freeform 30">
              <a:extLst>
                <a:ext uri="{FF2B5EF4-FFF2-40B4-BE49-F238E27FC236}">
                  <a16:creationId xmlns:a16="http://schemas.microsoft.com/office/drawing/2014/main" id="{8E880BDF-9C9C-9E0C-93B0-1DAF7E07F904}"/>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2" name="Freeform 31">
              <a:extLst>
                <a:ext uri="{FF2B5EF4-FFF2-40B4-BE49-F238E27FC236}">
                  <a16:creationId xmlns:a16="http://schemas.microsoft.com/office/drawing/2014/main" id="{B88CF999-ED30-8E65-E57F-83326EBA9F1F}"/>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3" name="Freeform 32">
              <a:extLst>
                <a:ext uri="{FF2B5EF4-FFF2-40B4-BE49-F238E27FC236}">
                  <a16:creationId xmlns:a16="http://schemas.microsoft.com/office/drawing/2014/main" id="{54B26BEC-DA9E-A4E8-B495-EA83743A1051}"/>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4" name="Freeform 33">
              <a:extLst>
                <a:ext uri="{FF2B5EF4-FFF2-40B4-BE49-F238E27FC236}">
                  <a16:creationId xmlns:a16="http://schemas.microsoft.com/office/drawing/2014/main" id="{D9E9AFD0-C0FD-DCE4-DBB9-0CED1C35159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5" name="Freeform 34">
              <a:extLst>
                <a:ext uri="{FF2B5EF4-FFF2-40B4-BE49-F238E27FC236}">
                  <a16:creationId xmlns:a16="http://schemas.microsoft.com/office/drawing/2014/main" id="{E8760AA1-E29F-2188-1BB3-8881263C4506}"/>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6" name="Freeform 35">
              <a:extLst>
                <a:ext uri="{FF2B5EF4-FFF2-40B4-BE49-F238E27FC236}">
                  <a16:creationId xmlns:a16="http://schemas.microsoft.com/office/drawing/2014/main" id="{F86F2C48-9195-F884-5097-483F2FDF0756}"/>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37" name="Freeform 36">
              <a:extLst>
                <a:ext uri="{FF2B5EF4-FFF2-40B4-BE49-F238E27FC236}">
                  <a16:creationId xmlns:a16="http://schemas.microsoft.com/office/drawing/2014/main" id="{60AA74B8-5938-8C45-8445-0C79A02C3E35}"/>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38" name="Freeform 37">
              <a:extLst>
                <a:ext uri="{FF2B5EF4-FFF2-40B4-BE49-F238E27FC236}">
                  <a16:creationId xmlns:a16="http://schemas.microsoft.com/office/drawing/2014/main" id="{EACDAAB3-EE0D-A9F6-2699-C493021CB0C1}"/>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1309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762363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grpSp>
        <p:nvGrpSpPr>
          <p:cNvPr id="53" name="Group 52">
            <a:extLst>
              <a:ext uri="{FF2B5EF4-FFF2-40B4-BE49-F238E27FC236}">
                <a16:creationId xmlns:a16="http://schemas.microsoft.com/office/drawing/2014/main" id="{7255F6E5-4D6B-9BF7-DFB7-A5069FF04794}"/>
              </a:ext>
            </a:extLst>
          </p:cNvPr>
          <p:cNvGrpSpPr/>
          <p:nvPr/>
        </p:nvGrpSpPr>
        <p:grpSpPr>
          <a:xfrm>
            <a:off x="2337" y="4972051"/>
            <a:ext cx="544631" cy="177437"/>
            <a:chOff x="61151" y="6718048"/>
            <a:chExt cx="726174" cy="236582"/>
          </a:xfrm>
        </p:grpSpPr>
        <p:sp>
          <p:nvSpPr>
            <p:cNvPr id="54" name="Freeform 18">
              <a:extLst>
                <a:ext uri="{FF2B5EF4-FFF2-40B4-BE49-F238E27FC236}">
                  <a16:creationId xmlns:a16="http://schemas.microsoft.com/office/drawing/2014/main" id="{C4A59211-18BA-3FE2-0751-AB90684A9E58}"/>
                </a:ext>
              </a:extLst>
            </p:cNvPr>
            <p:cNvSpPr/>
            <p:nvPr/>
          </p:nvSpPr>
          <p:spPr>
            <a:xfrm>
              <a:off x="125600" y="6869014"/>
              <a:ext cx="38735" cy="66769"/>
            </a:xfrm>
            <a:custGeom>
              <a:avLst/>
              <a:gdLst>
                <a:gd name="connsiteX0" fmla="*/ 95 w 38735"/>
                <a:gd name="connsiteY0" fmla="*/ 0 h 66769"/>
                <a:gd name="connsiteX1" fmla="*/ 10465 w 38735"/>
                <a:gd name="connsiteY1" fmla="*/ 5967 h 66769"/>
                <a:gd name="connsiteX2" fmla="*/ 37268 w 38735"/>
                <a:gd name="connsiteY2" fmla="*/ 21452 h 66769"/>
                <a:gd name="connsiteX3" fmla="*/ 38736 w 38735"/>
                <a:gd name="connsiteY3" fmla="*/ 23488 h 66769"/>
                <a:gd name="connsiteX4" fmla="*/ 38688 w 38735"/>
                <a:gd name="connsiteY4" fmla="*/ 65775 h 66769"/>
                <a:gd name="connsiteX5" fmla="*/ 38641 w 38735"/>
                <a:gd name="connsiteY5" fmla="*/ 66770 h 66769"/>
                <a:gd name="connsiteX6" fmla="*/ 37457 w 38735"/>
                <a:gd name="connsiteY6" fmla="*/ 66201 h 66769"/>
                <a:gd name="connsiteX7" fmla="*/ 1042 w 38735"/>
                <a:gd name="connsiteY7" fmla="*/ 45129 h 66769"/>
                <a:gd name="connsiteX8" fmla="*/ 47 w 38735"/>
                <a:gd name="connsiteY8" fmla="*/ 43566 h 66769"/>
                <a:gd name="connsiteX9" fmla="*/ 0 w 38735"/>
                <a:gd name="connsiteY9" fmla="*/ 805 h 66769"/>
                <a:gd name="connsiteX10" fmla="*/ 95 w 38735"/>
                <a:gd name="connsiteY10" fmla="*/ 0 h 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 h="66769">
                  <a:moveTo>
                    <a:pt x="95" y="0"/>
                  </a:moveTo>
                  <a:cubicBezTo>
                    <a:pt x="3694" y="2084"/>
                    <a:pt x="7103" y="4025"/>
                    <a:pt x="10465" y="5967"/>
                  </a:cubicBezTo>
                  <a:cubicBezTo>
                    <a:pt x="19415" y="11128"/>
                    <a:pt x="28318" y="16290"/>
                    <a:pt x="37268" y="21452"/>
                  </a:cubicBezTo>
                  <a:cubicBezTo>
                    <a:pt x="38073" y="21925"/>
                    <a:pt x="38736" y="22304"/>
                    <a:pt x="38736" y="23488"/>
                  </a:cubicBezTo>
                  <a:cubicBezTo>
                    <a:pt x="38688" y="37599"/>
                    <a:pt x="38688" y="51664"/>
                    <a:pt x="38688" y="65775"/>
                  </a:cubicBezTo>
                  <a:cubicBezTo>
                    <a:pt x="38688" y="66059"/>
                    <a:pt x="38641" y="66296"/>
                    <a:pt x="38641" y="66770"/>
                  </a:cubicBezTo>
                  <a:cubicBezTo>
                    <a:pt x="38167" y="66580"/>
                    <a:pt x="37789" y="66391"/>
                    <a:pt x="37457" y="66201"/>
                  </a:cubicBezTo>
                  <a:cubicBezTo>
                    <a:pt x="25287" y="59193"/>
                    <a:pt x="13164" y="52185"/>
                    <a:pt x="1042" y="45129"/>
                  </a:cubicBezTo>
                  <a:cubicBezTo>
                    <a:pt x="568" y="44845"/>
                    <a:pt x="47" y="44087"/>
                    <a:pt x="47" y="43566"/>
                  </a:cubicBezTo>
                  <a:cubicBezTo>
                    <a:pt x="0" y="29312"/>
                    <a:pt x="0" y="15059"/>
                    <a:pt x="0" y="805"/>
                  </a:cubicBezTo>
                  <a:cubicBezTo>
                    <a:pt x="0" y="663"/>
                    <a:pt x="47" y="474"/>
                    <a:pt x="95"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5" name="Freeform 19">
              <a:extLst>
                <a:ext uri="{FF2B5EF4-FFF2-40B4-BE49-F238E27FC236}">
                  <a16:creationId xmlns:a16="http://schemas.microsoft.com/office/drawing/2014/main" id="{8C29DF29-4F2A-EFFC-EA9C-2D094203D536}"/>
                </a:ext>
              </a:extLst>
            </p:cNvPr>
            <p:cNvSpPr/>
            <p:nvPr/>
          </p:nvSpPr>
          <p:spPr>
            <a:xfrm>
              <a:off x="169403" y="6869061"/>
              <a:ext cx="38688" cy="66816"/>
            </a:xfrm>
            <a:custGeom>
              <a:avLst/>
              <a:gdLst>
                <a:gd name="connsiteX0" fmla="*/ 38641 w 38688"/>
                <a:gd name="connsiteY0" fmla="*/ 0 h 66816"/>
                <a:gd name="connsiteX1" fmla="*/ 38641 w 38688"/>
                <a:gd name="connsiteY1" fmla="*/ 1847 h 66816"/>
                <a:gd name="connsiteX2" fmla="*/ 38688 w 38688"/>
                <a:gd name="connsiteY2" fmla="*/ 42998 h 66816"/>
                <a:gd name="connsiteX3" fmla="*/ 37268 w 38688"/>
                <a:gd name="connsiteY3" fmla="*/ 45413 h 66816"/>
                <a:gd name="connsiteX4" fmla="*/ 1231 w 38688"/>
                <a:gd name="connsiteY4" fmla="*/ 66201 h 66816"/>
                <a:gd name="connsiteX5" fmla="*/ 95 w 38688"/>
                <a:gd name="connsiteY5" fmla="*/ 66817 h 66816"/>
                <a:gd name="connsiteX6" fmla="*/ 0 w 38688"/>
                <a:gd name="connsiteY6" fmla="*/ 65112 h 66816"/>
                <a:gd name="connsiteX7" fmla="*/ 0 w 38688"/>
                <a:gd name="connsiteY7" fmla="*/ 23772 h 66816"/>
                <a:gd name="connsiteX8" fmla="*/ 1137 w 38688"/>
                <a:gd name="connsiteY8" fmla="*/ 21546 h 66816"/>
                <a:gd name="connsiteX9" fmla="*/ 36794 w 38688"/>
                <a:gd name="connsiteY9" fmla="*/ 1042 h 66816"/>
                <a:gd name="connsiteX10" fmla="*/ 38641 w 38688"/>
                <a:gd name="connsiteY10" fmla="*/ 0 h 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88" h="66816">
                  <a:moveTo>
                    <a:pt x="38641" y="0"/>
                  </a:moveTo>
                  <a:cubicBezTo>
                    <a:pt x="38641" y="758"/>
                    <a:pt x="38641" y="1279"/>
                    <a:pt x="38641" y="1847"/>
                  </a:cubicBezTo>
                  <a:cubicBezTo>
                    <a:pt x="38641" y="15580"/>
                    <a:pt x="38641" y="29312"/>
                    <a:pt x="38688" y="42998"/>
                  </a:cubicBezTo>
                  <a:cubicBezTo>
                    <a:pt x="38688" y="44182"/>
                    <a:pt x="38309" y="44797"/>
                    <a:pt x="37268" y="45413"/>
                  </a:cubicBezTo>
                  <a:cubicBezTo>
                    <a:pt x="25240" y="52327"/>
                    <a:pt x="13212" y="59240"/>
                    <a:pt x="1231" y="66201"/>
                  </a:cubicBezTo>
                  <a:cubicBezTo>
                    <a:pt x="900" y="66391"/>
                    <a:pt x="568" y="66533"/>
                    <a:pt x="95" y="66817"/>
                  </a:cubicBezTo>
                  <a:cubicBezTo>
                    <a:pt x="47" y="66154"/>
                    <a:pt x="0" y="65633"/>
                    <a:pt x="0" y="65112"/>
                  </a:cubicBezTo>
                  <a:cubicBezTo>
                    <a:pt x="0" y="51332"/>
                    <a:pt x="0" y="37552"/>
                    <a:pt x="0" y="23772"/>
                  </a:cubicBezTo>
                  <a:cubicBezTo>
                    <a:pt x="0" y="22777"/>
                    <a:pt x="142" y="22114"/>
                    <a:pt x="1137" y="21546"/>
                  </a:cubicBezTo>
                  <a:cubicBezTo>
                    <a:pt x="13022" y="14727"/>
                    <a:pt x="24908" y="7861"/>
                    <a:pt x="36794" y="1042"/>
                  </a:cubicBezTo>
                  <a:cubicBezTo>
                    <a:pt x="37268" y="663"/>
                    <a:pt x="37836" y="379"/>
                    <a:pt x="38641" y="0"/>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6" name="Freeform 20">
              <a:extLst>
                <a:ext uri="{FF2B5EF4-FFF2-40B4-BE49-F238E27FC236}">
                  <a16:creationId xmlns:a16="http://schemas.microsoft.com/office/drawing/2014/main" id="{58C7D7CF-2D75-D424-50BD-8903AD586C1A}"/>
                </a:ext>
              </a:extLst>
            </p:cNvPr>
            <p:cNvSpPr/>
            <p:nvPr/>
          </p:nvSpPr>
          <p:spPr>
            <a:xfrm>
              <a:off x="128205" y="6842264"/>
              <a:ext cx="77187" cy="43964"/>
            </a:xfrm>
            <a:custGeom>
              <a:avLst/>
              <a:gdLst>
                <a:gd name="connsiteX0" fmla="*/ 0 w 77187"/>
                <a:gd name="connsiteY0" fmla="*/ 21873 h 43964"/>
                <a:gd name="connsiteX1" fmla="*/ 9897 w 77187"/>
                <a:gd name="connsiteY1" fmla="*/ 16096 h 43964"/>
                <a:gd name="connsiteX2" fmla="*/ 36699 w 77187"/>
                <a:gd name="connsiteY2" fmla="*/ 611 h 43964"/>
                <a:gd name="connsiteX3" fmla="*/ 40393 w 77187"/>
                <a:gd name="connsiteY3" fmla="*/ 564 h 43964"/>
                <a:gd name="connsiteX4" fmla="*/ 75388 w 77187"/>
                <a:gd name="connsiteY4" fmla="*/ 20831 h 43964"/>
                <a:gd name="connsiteX5" fmla="*/ 77187 w 77187"/>
                <a:gd name="connsiteY5" fmla="*/ 21968 h 43964"/>
                <a:gd name="connsiteX6" fmla="*/ 66106 w 77187"/>
                <a:gd name="connsiteY6" fmla="*/ 28408 h 43964"/>
                <a:gd name="connsiteX7" fmla="*/ 39872 w 77187"/>
                <a:gd name="connsiteY7" fmla="*/ 43561 h 43964"/>
                <a:gd name="connsiteX8" fmla="*/ 37220 w 77187"/>
                <a:gd name="connsiteY8" fmla="*/ 43514 h 43964"/>
                <a:gd name="connsiteX9" fmla="*/ 1515 w 77187"/>
                <a:gd name="connsiteY9" fmla="*/ 22867 h 43964"/>
                <a:gd name="connsiteX10" fmla="*/ 0 w 77187"/>
                <a:gd name="connsiteY10" fmla="*/ 21873 h 4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87" h="43964">
                  <a:moveTo>
                    <a:pt x="0" y="21873"/>
                  </a:moveTo>
                  <a:cubicBezTo>
                    <a:pt x="3410" y="19884"/>
                    <a:pt x="6677" y="17990"/>
                    <a:pt x="9897" y="16096"/>
                  </a:cubicBezTo>
                  <a:cubicBezTo>
                    <a:pt x="18847" y="10934"/>
                    <a:pt x="27797" y="5820"/>
                    <a:pt x="36699" y="611"/>
                  </a:cubicBezTo>
                  <a:cubicBezTo>
                    <a:pt x="38025" y="-147"/>
                    <a:pt x="38972" y="-241"/>
                    <a:pt x="40393" y="564"/>
                  </a:cubicBezTo>
                  <a:cubicBezTo>
                    <a:pt x="52042" y="7383"/>
                    <a:pt x="63739" y="14060"/>
                    <a:pt x="75388" y="20831"/>
                  </a:cubicBezTo>
                  <a:cubicBezTo>
                    <a:pt x="75956" y="21163"/>
                    <a:pt x="76477" y="21494"/>
                    <a:pt x="77187" y="21968"/>
                  </a:cubicBezTo>
                  <a:cubicBezTo>
                    <a:pt x="73352" y="24193"/>
                    <a:pt x="69705" y="26324"/>
                    <a:pt x="66106" y="28408"/>
                  </a:cubicBezTo>
                  <a:cubicBezTo>
                    <a:pt x="57346" y="33475"/>
                    <a:pt x="48585" y="38494"/>
                    <a:pt x="39872" y="43561"/>
                  </a:cubicBezTo>
                  <a:cubicBezTo>
                    <a:pt x="38878" y="44130"/>
                    <a:pt x="38215" y="44082"/>
                    <a:pt x="37220" y="43514"/>
                  </a:cubicBezTo>
                  <a:cubicBezTo>
                    <a:pt x="25334" y="36600"/>
                    <a:pt x="13401" y="29734"/>
                    <a:pt x="1515" y="22867"/>
                  </a:cubicBezTo>
                  <a:cubicBezTo>
                    <a:pt x="1089" y="22583"/>
                    <a:pt x="663" y="22252"/>
                    <a:pt x="0" y="21873"/>
                  </a:cubicBezTo>
                  <a:close/>
                </a:path>
              </a:pathLst>
            </a:custGeom>
            <a:solidFill>
              <a:srgbClr val="00A099"/>
            </a:solidFill>
            <a:ln w="438" cap="flat">
              <a:solidFill>
                <a:srgbClr val="04A8B5"/>
              </a:solidFill>
              <a:prstDash val="solid"/>
              <a:miter/>
            </a:ln>
          </p:spPr>
          <p:txBody>
            <a:bodyPr rtlCol="0" anchor="ctr"/>
            <a:lstStyle/>
            <a:p>
              <a:endParaRPr lang="en-US" sz="1013" b="0" i="0">
                <a:latin typeface="Nexa Book" pitchFamily="2" charset="77"/>
              </a:endParaRPr>
            </a:p>
          </p:txBody>
        </p:sp>
        <p:sp>
          <p:nvSpPr>
            <p:cNvPr id="57" name="Freeform 21">
              <a:extLst>
                <a:ext uri="{FF2B5EF4-FFF2-40B4-BE49-F238E27FC236}">
                  <a16:creationId xmlns:a16="http://schemas.microsoft.com/office/drawing/2014/main" id="{25DC3EF2-DEDC-B6EF-686D-9F9D99B5B245}"/>
                </a:ext>
              </a:extLst>
            </p:cNvPr>
            <p:cNvSpPr/>
            <p:nvPr/>
          </p:nvSpPr>
          <p:spPr>
            <a:xfrm>
              <a:off x="153811" y="6855216"/>
              <a:ext cx="27703" cy="16089"/>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Freeform 22">
              <a:extLst>
                <a:ext uri="{FF2B5EF4-FFF2-40B4-BE49-F238E27FC236}">
                  <a16:creationId xmlns:a16="http://schemas.microsoft.com/office/drawing/2014/main" id="{A96731E9-8209-3E5B-A834-4D0DD85390F0}"/>
                </a:ext>
              </a:extLst>
            </p:cNvPr>
            <p:cNvSpPr/>
            <p:nvPr/>
          </p:nvSpPr>
          <p:spPr>
            <a:xfrm>
              <a:off x="135829" y="6887147"/>
              <a:ext cx="15153" cy="31167"/>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Freeform 23">
              <a:extLst>
                <a:ext uri="{FF2B5EF4-FFF2-40B4-BE49-F238E27FC236}">
                  <a16:creationId xmlns:a16="http://schemas.microsoft.com/office/drawing/2014/main" id="{F36A7FE5-0EEC-85F1-612B-DCC9CF8FF7A4}"/>
                </a:ext>
              </a:extLst>
            </p:cNvPr>
            <p:cNvSpPr/>
            <p:nvPr/>
          </p:nvSpPr>
          <p:spPr>
            <a:xfrm>
              <a:off x="183088" y="6888648"/>
              <a:ext cx="13211" cy="29965"/>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60" name="Freeform 24">
              <a:extLst>
                <a:ext uri="{FF2B5EF4-FFF2-40B4-BE49-F238E27FC236}">
                  <a16:creationId xmlns:a16="http://schemas.microsoft.com/office/drawing/2014/main" id="{71144ADD-BE58-5324-6FD6-C2671E222CAE}"/>
                </a:ext>
              </a:extLst>
            </p:cNvPr>
            <p:cNvSpPr/>
            <p:nvPr/>
          </p:nvSpPr>
          <p:spPr>
            <a:xfrm>
              <a:off x="61151" y="6783729"/>
              <a:ext cx="103658" cy="170901"/>
            </a:xfrm>
            <a:custGeom>
              <a:avLst/>
              <a:gdLst>
                <a:gd name="connsiteX0" fmla="*/ 0 w 103658"/>
                <a:gd name="connsiteY0" fmla="*/ 170902 h 170901"/>
                <a:gd name="connsiteX1" fmla="*/ 53415 w 103658"/>
                <a:gd name="connsiteY1" fmla="*/ 134581 h 170901"/>
                <a:gd name="connsiteX2" fmla="*/ 53226 w 103658"/>
                <a:gd name="connsiteY2" fmla="*/ 72594 h 170901"/>
                <a:gd name="connsiteX3" fmla="*/ 103563 w 103658"/>
                <a:gd name="connsiteY3" fmla="*/ 43708 h 170901"/>
                <a:gd name="connsiteX4" fmla="*/ 103658 w 103658"/>
                <a:gd name="connsiteY4" fmla="*/ 0 h 170901"/>
                <a:gd name="connsiteX5" fmla="*/ 142 w 103658"/>
                <a:gd name="connsiteY5" fmla="*/ 62887 h 170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58" h="170901">
                  <a:moveTo>
                    <a:pt x="0" y="170902"/>
                  </a:moveTo>
                  <a:lnTo>
                    <a:pt x="53415" y="134581"/>
                  </a:lnTo>
                  <a:lnTo>
                    <a:pt x="53226" y="72594"/>
                  </a:lnTo>
                  <a:lnTo>
                    <a:pt x="103563" y="43708"/>
                  </a:lnTo>
                  <a:lnTo>
                    <a:pt x="103658" y="0"/>
                  </a:lnTo>
                  <a:lnTo>
                    <a:pt x="142" y="6288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1" name="Freeform 25">
              <a:extLst>
                <a:ext uri="{FF2B5EF4-FFF2-40B4-BE49-F238E27FC236}">
                  <a16:creationId xmlns:a16="http://schemas.microsoft.com/office/drawing/2014/main" id="{6A2234C2-EFFF-5640-1BC6-E57325F327C7}"/>
                </a:ext>
              </a:extLst>
            </p:cNvPr>
            <p:cNvSpPr/>
            <p:nvPr/>
          </p:nvSpPr>
          <p:spPr>
            <a:xfrm>
              <a:off x="61199" y="6718048"/>
              <a:ext cx="94187" cy="93808"/>
            </a:xfrm>
            <a:custGeom>
              <a:avLst/>
              <a:gdLst>
                <a:gd name="connsiteX0" fmla="*/ 94187 w 94187"/>
                <a:gd name="connsiteY0" fmla="*/ 56162 h 93808"/>
                <a:gd name="connsiteX1" fmla="*/ 33385 w 94187"/>
                <a:gd name="connsiteY1" fmla="*/ 93809 h 93808"/>
                <a:gd name="connsiteX2" fmla="*/ 95 w 94187"/>
                <a:gd name="connsiteY2" fmla="*/ 75483 h 93808"/>
                <a:gd name="connsiteX3" fmla="*/ 0 w 94187"/>
                <a:gd name="connsiteY3" fmla="*/ 0 h 93808"/>
              </a:gdLst>
              <a:ahLst/>
              <a:cxnLst>
                <a:cxn ang="0">
                  <a:pos x="connsiteX0" y="connsiteY0"/>
                </a:cxn>
                <a:cxn ang="0">
                  <a:pos x="connsiteX1" y="connsiteY1"/>
                </a:cxn>
                <a:cxn ang="0">
                  <a:pos x="connsiteX2" y="connsiteY2"/>
                </a:cxn>
                <a:cxn ang="0">
                  <a:pos x="connsiteX3" y="connsiteY3"/>
                </a:cxn>
              </a:cxnLst>
              <a:rect l="l" t="t" r="r" b="b"/>
              <a:pathLst>
                <a:path w="94187" h="93808">
                  <a:moveTo>
                    <a:pt x="94187" y="56162"/>
                  </a:moveTo>
                  <a:lnTo>
                    <a:pt x="33385" y="93809"/>
                  </a:lnTo>
                  <a:lnTo>
                    <a:pt x="95" y="75483"/>
                  </a:lnTo>
                  <a:lnTo>
                    <a:pt x="0"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2" name="Freeform 26">
              <a:extLst>
                <a:ext uri="{FF2B5EF4-FFF2-40B4-BE49-F238E27FC236}">
                  <a16:creationId xmlns:a16="http://schemas.microsoft.com/office/drawing/2014/main" id="{B50E8F27-507D-4631-5B21-4FEC3FD834F9}"/>
                </a:ext>
              </a:extLst>
            </p:cNvPr>
            <p:cNvSpPr/>
            <p:nvPr/>
          </p:nvSpPr>
          <p:spPr>
            <a:xfrm>
              <a:off x="221682" y="6811526"/>
              <a:ext cx="47223" cy="61797"/>
            </a:xfrm>
            <a:custGeom>
              <a:avLst/>
              <a:gdLst>
                <a:gd name="connsiteX0" fmla="*/ 4783 w 47223"/>
                <a:gd name="connsiteY0" fmla="*/ 40441 h 61797"/>
                <a:gd name="connsiteX1" fmla="*/ 4783 w 47223"/>
                <a:gd name="connsiteY1" fmla="*/ 61797 h 61797"/>
                <a:gd name="connsiteX2" fmla="*/ 0 w 47223"/>
                <a:gd name="connsiteY2" fmla="*/ 61797 h 61797"/>
                <a:gd name="connsiteX3" fmla="*/ 0 w 47223"/>
                <a:gd name="connsiteY3" fmla="*/ 0 h 61797"/>
                <a:gd name="connsiteX4" fmla="*/ 27087 w 47223"/>
                <a:gd name="connsiteY4" fmla="*/ 0 h 61797"/>
                <a:gd name="connsiteX5" fmla="*/ 27087 w 47223"/>
                <a:gd name="connsiteY5" fmla="*/ 40441 h 61797"/>
                <a:gd name="connsiteX6" fmla="*/ 4783 w 47223"/>
                <a:gd name="connsiteY6" fmla="*/ 40441 h 61797"/>
                <a:gd name="connsiteX7" fmla="*/ 4783 w 47223"/>
                <a:gd name="connsiteY7" fmla="*/ 4404 h 61797"/>
                <a:gd name="connsiteX8" fmla="*/ 4783 w 47223"/>
                <a:gd name="connsiteY8" fmla="*/ 36084 h 61797"/>
                <a:gd name="connsiteX9" fmla="*/ 27134 w 47223"/>
                <a:gd name="connsiteY9" fmla="*/ 36084 h 61797"/>
                <a:gd name="connsiteX10" fmla="*/ 27134 w 47223"/>
                <a:gd name="connsiteY10" fmla="*/ 4404 h 61797"/>
                <a:gd name="connsiteX11" fmla="*/ 4783 w 47223"/>
                <a:gd name="connsiteY11" fmla="*/ 4404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23" h="61797">
                  <a:moveTo>
                    <a:pt x="4783" y="40441"/>
                  </a:moveTo>
                  <a:lnTo>
                    <a:pt x="4783" y="61797"/>
                  </a:lnTo>
                  <a:lnTo>
                    <a:pt x="0" y="61797"/>
                  </a:lnTo>
                  <a:lnTo>
                    <a:pt x="0" y="0"/>
                  </a:lnTo>
                  <a:cubicBezTo>
                    <a:pt x="8997" y="0"/>
                    <a:pt x="18089" y="0"/>
                    <a:pt x="27087" y="0"/>
                  </a:cubicBezTo>
                  <a:cubicBezTo>
                    <a:pt x="53936" y="0"/>
                    <a:pt x="53936" y="40441"/>
                    <a:pt x="27087" y="40441"/>
                  </a:cubicBezTo>
                  <a:lnTo>
                    <a:pt x="4783" y="40441"/>
                  </a:lnTo>
                  <a:close/>
                  <a:moveTo>
                    <a:pt x="4783" y="4404"/>
                  </a:moveTo>
                  <a:lnTo>
                    <a:pt x="4783" y="36084"/>
                  </a:lnTo>
                  <a:lnTo>
                    <a:pt x="27134" y="36084"/>
                  </a:lnTo>
                  <a:cubicBezTo>
                    <a:pt x="47733" y="36084"/>
                    <a:pt x="47733" y="4404"/>
                    <a:pt x="27134" y="4404"/>
                  </a:cubicBezTo>
                  <a:lnTo>
                    <a:pt x="4783" y="4404"/>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3" name="Freeform 27">
              <a:extLst>
                <a:ext uri="{FF2B5EF4-FFF2-40B4-BE49-F238E27FC236}">
                  <a16:creationId xmlns:a16="http://schemas.microsoft.com/office/drawing/2014/main" id="{80265B7B-9DAA-0F37-FC2B-93E0185ACC2C}"/>
                </a:ext>
              </a:extLst>
            </p:cNvPr>
            <p:cNvSpPr/>
            <p:nvPr/>
          </p:nvSpPr>
          <p:spPr>
            <a:xfrm>
              <a:off x="279501" y="6811526"/>
              <a:ext cx="49295" cy="61797"/>
            </a:xfrm>
            <a:custGeom>
              <a:avLst/>
              <a:gdLst>
                <a:gd name="connsiteX0" fmla="*/ 49296 w 49295"/>
                <a:gd name="connsiteY0" fmla="*/ 61797 h 61797"/>
                <a:gd name="connsiteX1" fmla="*/ 43045 w 49295"/>
                <a:gd name="connsiteY1" fmla="*/ 61797 h 61797"/>
                <a:gd name="connsiteX2" fmla="*/ 21641 w 49295"/>
                <a:gd name="connsiteY2" fmla="*/ 38404 h 61797"/>
                <a:gd name="connsiteX3" fmla="*/ 4783 w 49295"/>
                <a:gd name="connsiteY3" fmla="*/ 38404 h 61797"/>
                <a:gd name="connsiteX4" fmla="*/ 4783 w 49295"/>
                <a:gd name="connsiteY4" fmla="*/ 61797 h 61797"/>
                <a:gd name="connsiteX5" fmla="*/ 0 w 49295"/>
                <a:gd name="connsiteY5" fmla="*/ 61797 h 61797"/>
                <a:gd name="connsiteX6" fmla="*/ 0 w 49295"/>
                <a:gd name="connsiteY6" fmla="*/ 0 h 61797"/>
                <a:gd name="connsiteX7" fmla="*/ 27181 w 49295"/>
                <a:gd name="connsiteY7" fmla="*/ 0 h 61797"/>
                <a:gd name="connsiteX8" fmla="*/ 47496 w 49295"/>
                <a:gd name="connsiteY8" fmla="*/ 19273 h 61797"/>
                <a:gd name="connsiteX9" fmla="*/ 27465 w 49295"/>
                <a:gd name="connsiteY9" fmla="*/ 38168 h 61797"/>
                <a:gd name="connsiteX10" fmla="*/ 49296 w 49295"/>
                <a:gd name="connsiteY10" fmla="*/ 61797 h 61797"/>
                <a:gd name="connsiteX11" fmla="*/ 4783 w 49295"/>
                <a:gd name="connsiteY11" fmla="*/ 33906 h 61797"/>
                <a:gd name="connsiteX12" fmla="*/ 26660 w 49295"/>
                <a:gd name="connsiteY12" fmla="*/ 33906 h 61797"/>
                <a:gd name="connsiteX13" fmla="*/ 42287 w 49295"/>
                <a:gd name="connsiteY13" fmla="*/ 19179 h 61797"/>
                <a:gd name="connsiteX14" fmla="*/ 27181 w 49295"/>
                <a:gd name="connsiteY14" fmla="*/ 4451 h 61797"/>
                <a:gd name="connsiteX15" fmla="*/ 4735 w 49295"/>
                <a:gd name="connsiteY15" fmla="*/ 4451 h 61797"/>
                <a:gd name="connsiteX16" fmla="*/ 4735 w 49295"/>
                <a:gd name="connsiteY16" fmla="*/ 33906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295" h="61797">
                  <a:moveTo>
                    <a:pt x="49296" y="61797"/>
                  </a:moveTo>
                  <a:lnTo>
                    <a:pt x="43045" y="61797"/>
                  </a:lnTo>
                  <a:lnTo>
                    <a:pt x="21641" y="38404"/>
                  </a:lnTo>
                  <a:lnTo>
                    <a:pt x="4783" y="38404"/>
                  </a:lnTo>
                  <a:lnTo>
                    <a:pt x="4783" y="61797"/>
                  </a:lnTo>
                  <a:lnTo>
                    <a:pt x="0" y="61797"/>
                  </a:lnTo>
                  <a:lnTo>
                    <a:pt x="0" y="0"/>
                  </a:lnTo>
                  <a:cubicBezTo>
                    <a:pt x="9092" y="0"/>
                    <a:pt x="18089" y="0"/>
                    <a:pt x="27181" y="0"/>
                  </a:cubicBezTo>
                  <a:cubicBezTo>
                    <a:pt x="40582" y="0"/>
                    <a:pt x="47401" y="9613"/>
                    <a:pt x="47496" y="19273"/>
                  </a:cubicBezTo>
                  <a:cubicBezTo>
                    <a:pt x="47591" y="29360"/>
                    <a:pt x="40961" y="38168"/>
                    <a:pt x="27465" y="38168"/>
                  </a:cubicBezTo>
                  <a:lnTo>
                    <a:pt x="49296" y="61797"/>
                  </a:lnTo>
                  <a:close/>
                  <a:moveTo>
                    <a:pt x="4783" y="33906"/>
                  </a:moveTo>
                  <a:lnTo>
                    <a:pt x="26660" y="33906"/>
                  </a:lnTo>
                  <a:cubicBezTo>
                    <a:pt x="37457" y="33906"/>
                    <a:pt x="42193" y="27797"/>
                    <a:pt x="42287" y="19179"/>
                  </a:cubicBezTo>
                  <a:cubicBezTo>
                    <a:pt x="42382" y="11933"/>
                    <a:pt x="37410" y="4451"/>
                    <a:pt x="27181" y="4451"/>
                  </a:cubicBezTo>
                  <a:lnTo>
                    <a:pt x="4735" y="4451"/>
                  </a:lnTo>
                  <a:lnTo>
                    <a:pt x="4735" y="33906"/>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4" name="Freeform 28">
              <a:extLst>
                <a:ext uri="{FF2B5EF4-FFF2-40B4-BE49-F238E27FC236}">
                  <a16:creationId xmlns:a16="http://schemas.microsoft.com/office/drawing/2014/main" id="{8F4045B2-47DB-32FA-D7E8-020D552A7913}"/>
                </a:ext>
              </a:extLst>
            </p:cNvPr>
            <p:cNvSpPr/>
            <p:nvPr/>
          </p:nvSpPr>
          <p:spPr>
            <a:xfrm>
              <a:off x="336847"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5" name="Freeform 29">
              <a:extLst>
                <a:ext uri="{FF2B5EF4-FFF2-40B4-BE49-F238E27FC236}">
                  <a16:creationId xmlns:a16="http://schemas.microsoft.com/office/drawing/2014/main" id="{E94E08FD-BD24-CA98-42B5-DF58FF1463D1}"/>
                </a:ext>
              </a:extLst>
            </p:cNvPr>
            <p:cNvSpPr/>
            <p:nvPr/>
          </p:nvSpPr>
          <p:spPr>
            <a:xfrm>
              <a:off x="351808" y="6810816"/>
              <a:ext cx="54317" cy="63218"/>
            </a:xfrm>
            <a:custGeom>
              <a:avLst/>
              <a:gdLst>
                <a:gd name="connsiteX0" fmla="*/ 54318 w 54317"/>
                <a:gd name="connsiteY0" fmla="*/ 53937 h 63218"/>
                <a:gd name="connsiteX1" fmla="*/ 31777 w 54317"/>
                <a:gd name="connsiteY1" fmla="*/ 63218 h 63218"/>
                <a:gd name="connsiteX2" fmla="*/ 2 w 54317"/>
                <a:gd name="connsiteY2" fmla="*/ 31964 h 63218"/>
                <a:gd name="connsiteX3" fmla="*/ 31777 w 54317"/>
                <a:gd name="connsiteY3" fmla="*/ 0 h 63218"/>
                <a:gd name="connsiteX4" fmla="*/ 54318 w 54317"/>
                <a:gd name="connsiteY4" fmla="*/ 9281 h 63218"/>
                <a:gd name="connsiteX5" fmla="*/ 51050 w 54317"/>
                <a:gd name="connsiteY5" fmla="*/ 12123 h 63218"/>
                <a:gd name="connsiteX6" fmla="*/ 31777 w 54317"/>
                <a:gd name="connsiteY6" fmla="*/ 4262 h 63218"/>
                <a:gd name="connsiteX7" fmla="*/ 4596 w 54317"/>
                <a:gd name="connsiteY7" fmla="*/ 31822 h 63218"/>
                <a:gd name="connsiteX8" fmla="*/ 31777 w 54317"/>
                <a:gd name="connsiteY8" fmla="*/ 58861 h 63218"/>
                <a:gd name="connsiteX9" fmla="*/ 51098 w 54317"/>
                <a:gd name="connsiteY9" fmla="*/ 51001 h 63218"/>
                <a:gd name="connsiteX10" fmla="*/ 54318 w 54317"/>
                <a:gd name="connsiteY10" fmla="*/ 53937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17" h="63218">
                  <a:moveTo>
                    <a:pt x="54318" y="53937"/>
                  </a:moveTo>
                  <a:cubicBezTo>
                    <a:pt x="48114" y="60140"/>
                    <a:pt x="39922" y="63218"/>
                    <a:pt x="31777" y="63218"/>
                  </a:cubicBezTo>
                  <a:cubicBezTo>
                    <a:pt x="10941" y="63218"/>
                    <a:pt x="97" y="48633"/>
                    <a:pt x="2" y="31964"/>
                  </a:cubicBezTo>
                  <a:cubicBezTo>
                    <a:pt x="-187" y="15438"/>
                    <a:pt x="10610" y="0"/>
                    <a:pt x="31777" y="0"/>
                  </a:cubicBezTo>
                  <a:cubicBezTo>
                    <a:pt x="39922" y="0"/>
                    <a:pt x="48114" y="3078"/>
                    <a:pt x="54318" y="9281"/>
                  </a:cubicBezTo>
                  <a:lnTo>
                    <a:pt x="51050" y="12123"/>
                  </a:lnTo>
                  <a:cubicBezTo>
                    <a:pt x="45747" y="6819"/>
                    <a:pt x="38785" y="4262"/>
                    <a:pt x="31777" y="4262"/>
                  </a:cubicBezTo>
                  <a:cubicBezTo>
                    <a:pt x="13782" y="4262"/>
                    <a:pt x="4501" y="17000"/>
                    <a:pt x="4596" y="31822"/>
                  </a:cubicBezTo>
                  <a:cubicBezTo>
                    <a:pt x="4785" y="46313"/>
                    <a:pt x="13972" y="58861"/>
                    <a:pt x="31777" y="58861"/>
                  </a:cubicBezTo>
                  <a:cubicBezTo>
                    <a:pt x="38738" y="58861"/>
                    <a:pt x="45841" y="56210"/>
                    <a:pt x="51098" y="51001"/>
                  </a:cubicBezTo>
                  <a:lnTo>
                    <a:pt x="54318" y="5393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6" name="Freeform 30">
              <a:extLst>
                <a:ext uri="{FF2B5EF4-FFF2-40B4-BE49-F238E27FC236}">
                  <a16:creationId xmlns:a16="http://schemas.microsoft.com/office/drawing/2014/main" id="{CF55B8E7-7B70-F8C2-3320-948D8E5E83F6}"/>
                </a:ext>
              </a:extLst>
            </p:cNvPr>
            <p:cNvSpPr/>
            <p:nvPr/>
          </p:nvSpPr>
          <p:spPr>
            <a:xfrm>
              <a:off x="417443" y="6811526"/>
              <a:ext cx="4688" cy="61797"/>
            </a:xfrm>
            <a:custGeom>
              <a:avLst/>
              <a:gdLst>
                <a:gd name="connsiteX0" fmla="*/ 0 w 4688"/>
                <a:gd name="connsiteY0" fmla="*/ 61797 h 61797"/>
                <a:gd name="connsiteX1" fmla="*/ 0 w 4688"/>
                <a:gd name="connsiteY1" fmla="*/ 0 h 61797"/>
                <a:gd name="connsiteX2" fmla="*/ 4688 w 4688"/>
                <a:gd name="connsiteY2" fmla="*/ 0 h 61797"/>
                <a:gd name="connsiteX3" fmla="*/ 4688 w 4688"/>
                <a:gd name="connsiteY3" fmla="*/ 61797 h 61797"/>
                <a:gd name="connsiteX4" fmla="*/ 0 w 4688"/>
                <a:gd name="connsiteY4" fmla="*/ 61797 h 61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 h="61797">
                  <a:moveTo>
                    <a:pt x="0" y="61797"/>
                  </a:moveTo>
                  <a:lnTo>
                    <a:pt x="0" y="0"/>
                  </a:lnTo>
                  <a:lnTo>
                    <a:pt x="4688" y="0"/>
                  </a:lnTo>
                  <a:lnTo>
                    <a:pt x="4688" y="61797"/>
                  </a:lnTo>
                  <a:lnTo>
                    <a:pt x="0" y="6179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7" name="Freeform 31">
              <a:extLst>
                <a:ext uri="{FF2B5EF4-FFF2-40B4-BE49-F238E27FC236}">
                  <a16:creationId xmlns:a16="http://schemas.microsoft.com/office/drawing/2014/main" id="{1C4891DE-5655-5CA7-1554-8FC0A7C4FD86}"/>
                </a:ext>
              </a:extLst>
            </p:cNvPr>
            <p:cNvSpPr/>
            <p:nvPr/>
          </p:nvSpPr>
          <p:spPr>
            <a:xfrm>
              <a:off x="435817" y="6811526"/>
              <a:ext cx="48301" cy="61797"/>
            </a:xfrm>
            <a:custGeom>
              <a:avLst/>
              <a:gdLst>
                <a:gd name="connsiteX0" fmla="*/ 2036 w 48301"/>
                <a:gd name="connsiteY0" fmla="*/ 0 h 61797"/>
                <a:gd name="connsiteX1" fmla="*/ 43613 w 48301"/>
                <a:gd name="connsiteY1" fmla="*/ 51143 h 61797"/>
                <a:gd name="connsiteX2" fmla="*/ 43613 w 48301"/>
                <a:gd name="connsiteY2" fmla="*/ 0 h 61797"/>
                <a:gd name="connsiteX3" fmla="*/ 48301 w 48301"/>
                <a:gd name="connsiteY3" fmla="*/ 0 h 61797"/>
                <a:gd name="connsiteX4" fmla="*/ 48301 w 48301"/>
                <a:gd name="connsiteY4" fmla="*/ 61797 h 61797"/>
                <a:gd name="connsiteX5" fmla="*/ 46454 w 48301"/>
                <a:gd name="connsiteY5" fmla="*/ 61797 h 61797"/>
                <a:gd name="connsiteX6" fmla="*/ 4783 w 48301"/>
                <a:gd name="connsiteY6" fmla="*/ 10749 h 61797"/>
                <a:gd name="connsiteX7" fmla="*/ 4783 w 48301"/>
                <a:gd name="connsiteY7" fmla="*/ 61797 h 61797"/>
                <a:gd name="connsiteX8" fmla="*/ 0 w 48301"/>
                <a:gd name="connsiteY8" fmla="*/ 61797 h 61797"/>
                <a:gd name="connsiteX9" fmla="*/ 0 w 48301"/>
                <a:gd name="connsiteY9" fmla="*/ 0 h 61797"/>
                <a:gd name="connsiteX10" fmla="*/ 2036 w 48301"/>
                <a:gd name="connsiteY10" fmla="*/ 0 h 6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01" h="61797">
                  <a:moveTo>
                    <a:pt x="2036" y="0"/>
                  </a:moveTo>
                  <a:lnTo>
                    <a:pt x="43613" y="51143"/>
                  </a:lnTo>
                  <a:lnTo>
                    <a:pt x="43613" y="0"/>
                  </a:lnTo>
                  <a:lnTo>
                    <a:pt x="48301" y="0"/>
                  </a:lnTo>
                  <a:lnTo>
                    <a:pt x="48301" y="61797"/>
                  </a:lnTo>
                  <a:lnTo>
                    <a:pt x="46454" y="61797"/>
                  </a:lnTo>
                  <a:lnTo>
                    <a:pt x="4783" y="10749"/>
                  </a:lnTo>
                  <a:lnTo>
                    <a:pt x="4783" y="61797"/>
                  </a:lnTo>
                  <a:lnTo>
                    <a:pt x="0" y="61797"/>
                  </a:lnTo>
                  <a:lnTo>
                    <a:pt x="0" y="0"/>
                  </a:lnTo>
                  <a:lnTo>
                    <a:pt x="2036" y="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8" name="Freeform 32">
              <a:extLst>
                <a:ext uri="{FF2B5EF4-FFF2-40B4-BE49-F238E27FC236}">
                  <a16:creationId xmlns:a16="http://schemas.microsoft.com/office/drawing/2014/main" id="{7C1DB049-F128-BBCE-0CF6-41CEB3A268E8}"/>
                </a:ext>
              </a:extLst>
            </p:cNvPr>
            <p:cNvSpPr/>
            <p:nvPr/>
          </p:nvSpPr>
          <p:spPr>
            <a:xfrm>
              <a:off x="494820" y="6810626"/>
              <a:ext cx="55168" cy="63502"/>
            </a:xfrm>
            <a:custGeom>
              <a:avLst/>
              <a:gdLst>
                <a:gd name="connsiteX0" fmla="*/ 51711 w 55168"/>
                <a:gd name="connsiteY0" fmla="*/ 12265 h 63502"/>
                <a:gd name="connsiteX1" fmla="*/ 31822 w 55168"/>
                <a:gd name="connsiteY1" fmla="*/ 4309 h 63502"/>
                <a:gd name="connsiteX2" fmla="*/ 4546 w 55168"/>
                <a:gd name="connsiteY2" fmla="*/ 31869 h 63502"/>
                <a:gd name="connsiteX3" fmla="*/ 31822 w 55168"/>
                <a:gd name="connsiteY3" fmla="*/ 58956 h 63502"/>
                <a:gd name="connsiteX4" fmla="*/ 50622 w 55168"/>
                <a:gd name="connsiteY4" fmla="*/ 51806 h 63502"/>
                <a:gd name="connsiteX5" fmla="*/ 50622 w 55168"/>
                <a:gd name="connsiteY5" fmla="*/ 34474 h 63502"/>
                <a:gd name="connsiteX6" fmla="*/ 29123 w 55168"/>
                <a:gd name="connsiteY6" fmla="*/ 34474 h 63502"/>
                <a:gd name="connsiteX7" fmla="*/ 29123 w 55168"/>
                <a:gd name="connsiteY7" fmla="*/ 30307 h 63502"/>
                <a:gd name="connsiteX8" fmla="*/ 55168 w 55168"/>
                <a:gd name="connsiteY8" fmla="*/ 30307 h 63502"/>
                <a:gd name="connsiteX9" fmla="*/ 55168 w 55168"/>
                <a:gd name="connsiteY9" fmla="*/ 53510 h 63502"/>
                <a:gd name="connsiteX10" fmla="*/ 31870 w 55168"/>
                <a:gd name="connsiteY10" fmla="*/ 63502 h 63502"/>
                <a:gd name="connsiteX11" fmla="*/ 1 w 55168"/>
                <a:gd name="connsiteY11" fmla="*/ 31964 h 63502"/>
                <a:gd name="connsiteX12" fmla="*/ 31870 w 55168"/>
                <a:gd name="connsiteY12" fmla="*/ 0 h 63502"/>
                <a:gd name="connsiteX13" fmla="*/ 54458 w 55168"/>
                <a:gd name="connsiteY13" fmla="*/ 9281 h 63502"/>
                <a:gd name="connsiteX14" fmla="*/ 51711 w 55168"/>
                <a:gd name="connsiteY14" fmla="*/ 12265 h 6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68" h="63502">
                  <a:moveTo>
                    <a:pt x="51711" y="12265"/>
                  </a:moveTo>
                  <a:cubicBezTo>
                    <a:pt x="46313" y="6961"/>
                    <a:pt x="38831" y="4309"/>
                    <a:pt x="31822" y="4309"/>
                  </a:cubicBezTo>
                  <a:cubicBezTo>
                    <a:pt x="13733" y="4309"/>
                    <a:pt x="4452" y="17568"/>
                    <a:pt x="4546" y="31869"/>
                  </a:cubicBezTo>
                  <a:cubicBezTo>
                    <a:pt x="4546" y="46455"/>
                    <a:pt x="13828" y="58956"/>
                    <a:pt x="31822" y="58956"/>
                  </a:cubicBezTo>
                  <a:cubicBezTo>
                    <a:pt x="38452" y="58956"/>
                    <a:pt x="45318" y="56683"/>
                    <a:pt x="50622" y="51806"/>
                  </a:cubicBezTo>
                  <a:lnTo>
                    <a:pt x="50622" y="34474"/>
                  </a:lnTo>
                  <a:lnTo>
                    <a:pt x="29123" y="34474"/>
                  </a:lnTo>
                  <a:lnTo>
                    <a:pt x="29123" y="30307"/>
                  </a:lnTo>
                  <a:lnTo>
                    <a:pt x="55168" y="30307"/>
                  </a:lnTo>
                  <a:lnTo>
                    <a:pt x="55168" y="53510"/>
                  </a:lnTo>
                  <a:cubicBezTo>
                    <a:pt x="48728" y="59951"/>
                    <a:pt x="41056" y="63502"/>
                    <a:pt x="31870" y="63502"/>
                  </a:cubicBezTo>
                  <a:cubicBezTo>
                    <a:pt x="10845" y="63502"/>
                    <a:pt x="1" y="48822"/>
                    <a:pt x="1" y="31964"/>
                  </a:cubicBezTo>
                  <a:cubicBezTo>
                    <a:pt x="-94" y="12644"/>
                    <a:pt x="13070" y="0"/>
                    <a:pt x="31870" y="0"/>
                  </a:cubicBezTo>
                  <a:cubicBezTo>
                    <a:pt x="40015" y="0"/>
                    <a:pt x="48207" y="3078"/>
                    <a:pt x="54458" y="9281"/>
                  </a:cubicBezTo>
                  <a:lnTo>
                    <a:pt x="51711" y="12265"/>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69" name="Freeform 33">
              <a:extLst>
                <a:ext uri="{FF2B5EF4-FFF2-40B4-BE49-F238E27FC236}">
                  <a16:creationId xmlns:a16="http://schemas.microsoft.com/office/drawing/2014/main" id="{9A31B0D9-8B01-CAAF-C1CF-8962B2AF727A}"/>
                </a:ext>
              </a:extLst>
            </p:cNvPr>
            <p:cNvSpPr/>
            <p:nvPr/>
          </p:nvSpPr>
          <p:spPr>
            <a:xfrm>
              <a:off x="565094" y="6809348"/>
              <a:ext cx="63504" cy="64449"/>
            </a:xfrm>
            <a:custGeom>
              <a:avLst/>
              <a:gdLst>
                <a:gd name="connsiteX0" fmla="*/ 63502 w 63504"/>
                <a:gd name="connsiteY0" fmla="*/ 32485 h 64449"/>
                <a:gd name="connsiteX1" fmla="*/ 31775 w 63504"/>
                <a:gd name="connsiteY1" fmla="*/ 64449 h 64449"/>
                <a:gd name="connsiteX2" fmla="*/ 0 w 63504"/>
                <a:gd name="connsiteY2" fmla="*/ 32580 h 64449"/>
                <a:gd name="connsiteX3" fmla="*/ 31775 w 63504"/>
                <a:gd name="connsiteY3" fmla="*/ 0 h 64449"/>
                <a:gd name="connsiteX4" fmla="*/ 63502 w 63504"/>
                <a:gd name="connsiteY4" fmla="*/ 32485 h 64449"/>
                <a:gd name="connsiteX5" fmla="*/ 11460 w 63504"/>
                <a:gd name="connsiteY5" fmla="*/ 32769 h 64449"/>
                <a:gd name="connsiteX6" fmla="*/ 31775 w 63504"/>
                <a:gd name="connsiteY6" fmla="*/ 53795 h 64449"/>
                <a:gd name="connsiteX7" fmla="*/ 51995 w 63504"/>
                <a:gd name="connsiteY7" fmla="*/ 32675 h 64449"/>
                <a:gd name="connsiteX8" fmla="*/ 31775 w 63504"/>
                <a:gd name="connsiteY8" fmla="*/ 10607 h 64449"/>
                <a:gd name="connsiteX9" fmla="*/ 11460 w 63504"/>
                <a:gd name="connsiteY9" fmla="*/ 32769 h 6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04" h="64449">
                  <a:moveTo>
                    <a:pt x="63502" y="32485"/>
                  </a:moveTo>
                  <a:cubicBezTo>
                    <a:pt x="63312" y="48491"/>
                    <a:pt x="53510" y="64449"/>
                    <a:pt x="31775" y="64449"/>
                  </a:cubicBezTo>
                  <a:cubicBezTo>
                    <a:pt x="10039" y="64449"/>
                    <a:pt x="0" y="48822"/>
                    <a:pt x="0" y="32580"/>
                  </a:cubicBezTo>
                  <a:cubicBezTo>
                    <a:pt x="0" y="16337"/>
                    <a:pt x="10418" y="0"/>
                    <a:pt x="31775" y="0"/>
                  </a:cubicBezTo>
                  <a:cubicBezTo>
                    <a:pt x="53084" y="0"/>
                    <a:pt x="63691" y="16337"/>
                    <a:pt x="63502" y="32485"/>
                  </a:cubicBezTo>
                  <a:close/>
                  <a:moveTo>
                    <a:pt x="11460" y="32769"/>
                  </a:moveTo>
                  <a:cubicBezTo>
                    <a:pt x="11744" y="42903"/>
                    <a:pt x="17190" y="53795"/>
                    <a:pt x="31775" y="53795"/>
                  </a:cubicBezTo>
                  <a:cubicBezTo>
                    <a:pt x="46360" y="53795"/>
                    <a:pt x="51805" y="42856"/>
                    <a:pt x="51995" y="32675"/>
                  </a:cubicBezTo>
                  <a:cubicBezTo>
                    <a:pt x="52184" y="22257"/>
                    <a:pt x="46360" y="10607"/>
                    <a:pt x="31775" y="10607"/>
                  </a:cubicBezTo>
                  <a:cubicBezTo>
                    <a:pt x="17190" y="10607"/>
                    <a:pt x="11223" y="22351"/>
                    <a:pt x="11460" y="32769"/>
                  </a:cubicBez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0" name="Freeform 34">
              <a:extLst>
                <a:ext uri="{FF2B5EF4-FFF2-40B4-BE49-F238E27FC236}">
                  <a16:creationId xmlns:a16="http://schemas.microsoft.com/office/drawing/2014/main" id="{A81573D7-F452-F5FA-A9F1-7819B34B3B35}"/>
                </a:ext>
              </a:extLst>
            </p:cNvPr>
            <p:cNvSpPr/>
            <p:nvPr/>
          </p:nvSpPr>
          <p:spPr>
            <a:xfrm>
              <a:off x="638019" y="6810484"/>
              <a:ext cx="51379" cy="61986"/>
            </a:xfrm>
            <a:custGeom>
              <a:avLst/>
              <a:gdLst>
                <a:gd name="connsiteX0" fmla="*/ 39730 w 51379"/>
                <a:gd name="connsiteY0" fmla="*/ 0 h 61986"/>
                <a:gd name="connsiteX1" fmla="*/ 51379 w 51379"/>
                <a:gd name="connsiteY1" fmla="*/ 0 h 61986"/>
                <a:gd name="connsiteX2" fmla="*/ 51379 w 51379"/>
                <a:gd name="connsiteY2" fmla="*/ 61892 h 61986"/>
                <a:gd name="connsiteX3" fmla="*/ 44134 w 51379"/>
                <a:gd name="connsiteY3" fmla="*/ 61892 h 61986"/>
                <a:gd name="connsiteX4" fmla="*/ 44134 w 51379"/>
                <a:gd name="connsiteY4" fmla="*/ 61987 h 61986"/>
                <a:gd name="connsiteX5" fmla="*/ 11649 w 51379"/>
                <a:gd name="connsiteY5" fmla="*/ 20220 h 61986"/>
                <a:gd name="connsiteX6" fmla="*/ 11649 w 51379"/>
                <a:gd name="connsiteY6" fmla="*/ 61892 h 61986"/>
                <a:gd name="connsiteX7" fmla="*/ 0 w 51379"/>
                <a:gd name="connsiteY7" fmla="*/ 61892 h 61986"/>
                <a:gd name="connsiteX8" fmla="*/ 0 w 51379"/>
                <a:gd name="connsiteY8" fmla="*/ 95 h 61986"/>
                <a:gd name="connsiteX9" fmla="*/ 9471 w 51379"/>
                <a:gd name="connsiteY9" fmla="*/ 95 h 61986"/>
                <a:gd name="connsiteX10" fmla="*/ 39777 w 51379"/>
                <a:gd name="connsiteY10" fmla="*/ 38404 h 61986"/>
                <a:gd name="connsiteX11" fmla="*/ 39777 w 51379"/>
                <a:gd name="connsiteY11" fmla="*/ 0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379" h="61986">
                  <a:moveTo>
                    <a:pt x="39730" y="0"/>
                  </a:moveTo>
                  <a:lnTo>
                    <a:pt x="51379" y="0"/>
                  </a:lnTo>
                  <a:lnTo>
                    <a:pt x="51379" y="61892"/>
                  </a:lnTo>
                  <a:lnTo>
                    <a:pt x="44134" y="61892"/>
                  </a:lnTo>
                  <a:lnTo>
                    <a:pt x="44134" y="61987"/>
                  </a:lnTo>
                  <a:lnTo>
                    <a:pt x="11649" y="20220"/>
                  </a:lnTo>
                  <a:lnTo>
                    <a:pt x="11649" y="61892"/>
                  </a:lnTo>
                  <a:lnTo>
                    <a:pt x="0" y="61892"/>
                  </a:lnTo>
                  <a:lnTo>
                    <a:pt x="0" y="95"/>
                  </a:lnTo>
                  <a:lnTo>
                    <a:pt x="9471" y="95"/>
                  </a:lnTo>
                  <a:lnTo>
                    <a:pt x="39777" y="38404"/>
                  </a:lnTo>
                  <a:lnTo>
                    <a:pt x="39777" y="0"/>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1" name="Freeform 35">
              <a:extLst>
                <a:ext uri="{FF2B5EF4-FFF2-40B4-BE49-F238E27FC236}">
                  <a16:creationId xmlns:a16="http://schemas.microsoft.com/office/drawing/2014/main" id="{77BE60BE-8617-7EF4-BC7D-EFC62206C1FD}"/>
                </a:ext>
              </a:extLst>
            </p:cNvPr>
            <p:cNvSpPr/>
            <p:nvPr/>
          </p:nvSpPr>
          <p:spPr>
            <a:xfrm>
              <a:off x="699958" y="6810579"/>
              <a:ext cx="46264" cy="61844"/>
            </a:xfrm>
            <a:custGeom>
              <a:avLst/>
              <a:gdLst>
                <a:gd name="connsiteX0" fmla="*/ 46265 w 46264"/>
                <a:gd name="connsiteY0" fmla="*/ 61845 h 61844"/>
                <a:gd name="connsiteX1" fmla="*/ 0 w 46264"/>
                <a:gd name="connsiteY1" fmla="*/ 61845 h 61844"/>
                <a:gd name="connsiteX2" fmla="*/ 0 w 46264"/>
                <a:gd name="connsiteY2" fmla="*/ 0 h 61844"/>
                <a:gd name="connsiteX3" fmla="*/ 46265 w 46264"/>
                <a:gd name="connsiteY3" fmla="*/ 0 h 61844"/>
                <a:gd name="connsiteX4" fmla="*/ 46265 w 46264"/>
                <a:gd name="connsiteY4" fmla="*/ 11318 h 61844"/>
                <a:gd name="connsiteX5" fmla="*/ 11554 w 46264"/>
                <a:gd name="connsiteY5" fmla="*/ 11318 h 61844"/>
                <a:gd name="connsiteX6" fmla="*/ 11554 w 46264"/>
                <a:gd name="connsiteY6" fmla="*/ 25524 h 61844"/>
                <a:gd name="connsiteX7" fmla="*/ 45034 w 46264"/>
                <a:gd name="connsiteY7" fmla="*/ 25524 h 61844"/>
                <a:gd name="connsiteX8" fmla="*/ 45034 w 46264"/>
                <a:gd name="connsiteY8" fmla="*/ 36368 h 61844"/>
                <a:gd name="connsiteX9" fmla="*/ 11554 w 46264"/>
                <a:gd name="connsiteY9" fmla="*/ 36368 h 61844"/>
                <a:gd name="connsiteX10" fmla="*/ 11554 w 46264"/>
                <a:gd name="connsiteY10" fmla="*/ 50338 h 61844"/>
                <a:gd name="connsiteX11" fmla="*/ 46265 w 46264"/>
                <a:gd name="connsiteY11" fmla="*/ 50338 h 61844"/>
                <a:gd name="connsiteX12" fmla="*/ 46265 w 46264"/>
                <a:gd name="connsiteY12" fmla="*/ 61845 h 6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64" h="61844">
                  <a:moveTo>
                    <a:pt x="46265" y="61845"/>
                  </a:moveTo>
                  <a:lnTo>
                    <a:pt x="0" y="61845"/>
                  </a:lnTo>
                  <a:cubicBezTo>
                    <a:pt x="0" y="41246"/>
                    <a:pt x="0" y="20599"/>
                    <a:pt x="0" y="0"/>
                  </a:cubicBezTo>
                  <a:lnTo>
                    <a:pt x="46265" y="0"/>
                  </a:lnTo>
                  <a:lnTo>
                    <a:pt x="46265" y="11318"/>
                  </a:lnTo>
                  <a:lnTo>
                    <a:pt x="11554" y="11318"/>
                  </a:lnTo>
                  <a:lnTo>
                    <a:pt x="11554" y="25524"/>
                  </a:lnTo>
                  <a:lnTo>
                    <a:pt x="45034" y="25524"/>
                  </a:lnTo>
                  <a:lnTo>
                    <a:pt x="45034" y="36368"/>
                  </a:lnTo>
                  <a:lnTo>
                    <a:pt x="11554" y="36368"/>
                  </a:lnTo>
                  <a:lnTo>
                    <a:pt x="11554" y="50338"/>
                  </a:lnTo>
                  <a:lnTo>
                    <a:pt x="46265" y="50338"/>
                  </a:lnTo>
                  <a:lnTo>
                    <a:pt x="46265" y="61845"/>
                  </a:lnTo>
                  <a:close/>
                </a:path>
              </a:pathLst>
            </a:custGeom>
            <a:solidFill>
              <a:srgbClr val="00A099"/>
            </a:solidFill>
            <a:ln w="438" cap="flat">
              <a:noFill/>
              <a:prstDash val="solid"/>
              <a:miter/>
            </a:ln>
          </p:spPr>
          <p:txBody>
            <a:bodyPr rtlCol="0" anchor="ctr"/>
            <a:lstStyle/>
            <a:p>
              <a:endParaRPr lang="en-US" sz="1013" b="0" i="0">
                <a:latin typeface="Nexa Book" pitchFamily="2" charset="77"/>
              </a:endParaRPr>
            </a:p>
          </p:txBody>
        </p:sp>
        <p:sp>
          <p:nvSpPr>
            <p:cNvPr id="72" name="Freeform 36">
              <a:extLst>
                <a:ext uri="{FF2B5EF4-FFF2-40B4-BE49-F238E27FC236}">
                  <a16:creationId xmlns:a16="http://schemas.microsoft.com/office/drawing/2014/main" id="{381B08B4-93D7-EFF3-6A84-2768D9F23E4F}"/>
                </a:ext>
              </a:extLst>
            </p:cNvPr>
            <p:cNvSpPr/>
            <p:nvPr/>
          </p:nvSpPr>
          <p:spPr>
            <a:xfrm>
              <a:off x="747644" y="6800634"/>
              <a:ext cx="15390" cy="20457"/>
            </a:xfrm>
            <a:custGeom>
              <a:avLst/>
              <a:gdLst>
                <a:gd name="connsiteX0" fmla="*/ 9376 w 15390"/>
                <a:gd name="connsiteY0" fmla="*/ 20457 h 20457"/>
                <a:gd name="connsiteX1" fmla="*/ 6014 w 15390"/>
                <a:gd name="connsiteY1" fmla="*/ 20457 h 20457"/>
                <a:gd name="connsiteX2" fmla="*/ 6014 w 15390"/>
                <a:gd name="connsiteY2" fmla="*/ 2889 h 20457"/>
                <a:gd name="connsiteX3" fmla="*/ 0 w 15390"/>
                <a:gd name="connsiteY3" fmla="*/ 2889 h 20457"/>
                <a:gd name="connsiteX4" fmla="*/ 0 w 15390"/>
                <a:gd name="connsiteY4" fmla="*/ 0 h 20457"/>
                <a:gd name="connsiteX5" fmla="*/ 15390 w 15390"/>
                <a:gd name="connsiteY5" fmla="*/ 0 h 20457"/>
                <a:gd name="connsiteX6" fmla="*/ 15390 w 15390"/>
                <a:gd name="connsiteY6" fmla="*/ 2889 h 20457"/>
                <a:gd name="connsiteX7" fmla="*/ 9376 w 15390"/>
                <a:gd name="connsiteY7" fmla="*/ 2889 h 20457"/>
                <a:gd name="connsiteX8" fmla="*/ 9376 w 15390"/>
                <a:gd name="connsiteY8" fmla="*/ 20457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90" h="20457">
                  <a:moveTo>
                    <a:pt x="9376" y="20457"/>
                  </a:moveTo>
                  <a:lnTo>
                    <a:pt x="6014" y="20457"/>
                  </a:lnTo>
                  <a:lnTo>
                    <a:pt x="6014" y="2889"/>
                  </a:lnTo>
                  <a:lnTo>
                    <a:pt x="0" y="2889"/>
                  </a:lnTo>
                  <a:lnTo>
                    <a:pt x="0" y="0"/>
                  </a:lnTo>
                  <a:lnTo>
                    <a:pt x="15390" y="0"/>
                  </a:lnTo>
                  <a:lnTo>
                    <a:pt x="15390" y="2889"/>
                  </a:lnTo>
                  <a:lnTo>
                    <a:pt x="9376" y="2889"/>
                  </a:lnTo>
                  <a:lnTo>
                    <a:pt x="9376" y="20457"/>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sp>
          <p:nvSpPr>
            <p:cNvPr id="73" name="Freeform 37">
              <a:extLst>
                <a:ext uri="{FF2B5EF4-FFF2-40B4-BE49-F238E27FC236}">
                  <a16:creationId xmlns:a16="http://schemas.microsoft.com/office/drawing/2014/main" id="{D50C7E1B-C005-6A90-007B-340451B1E026}"/>
                </a:ext>
              </a:extLst>
            </p:cNvPr>
            <p:cNvSpPr/>
            <p:nvPr/>
          </p:nvSpPr>
          <p:spPr>
            <a:xfrm>
              <a:off x="766206" y="6800634"/>
              <a:ext cx="21119" cy="20457"/>
            </a:xfrm>
            <a:custGeom>
              <a:avLst/>
              <a:gdLst>
                <a:gd name="connsiteX0" fmla="*/ 8808 w 21119"/>
                <a:gd name="connsiteY0" fmla="*/ 20457 h 20457"/>
                <a:gd name="connsiteX1" fmla="*/ 2889 w 21119"/>
                <a:gd name="connsiteY1" fmla="*/ 3362 h 20457"/>
                <a:gd name="connsiteX2" fmla="*/ 2794 w 21119"/>
                <a:gd name="connsiteY2" fmla="*/ 3362 h 20457"/>
                <a:gd name="connsiteX3" fmla="*/ 3031 w 21119"/>
                <a:gd name="connsiteY3" fmla="*/ 10513 h 20457"/>
                <a:gd name="connsiteX4" fmla="*/ 3031 w 21119"/>
                <a:gd name="connsiteY4" fmla="*/ 20457 h 20457"/>
                <a:gd name="connsiteX5" fmla="*/ 0 w 21119"/>
                <a:gd name="connsiteY5" fmla="*/ 20457 h 20457"/>
                <a:gd name="connsiteX6" fmla="*/ 0 w 21119"/>
                <a:gd name="connsiteY6" fmla="*/ 0 h 20457"/>
                <a:gd name="connsiteX7" fmla="*/ 4735 w 21119"/>
                <a:gd name="connsiteY7" fmla="*/ 0 h 20457"/>
                <a:gd name="connsiteX8" fmla="*/ 10418 w 21119"/>
                <a:gd name="connsiteY8" fmla="*/ 16290 h 20457"/>
                <a:gd name="connsiteX9" fmla="*/ 10513 w 21119"/>
                <a:gd name="connsiteY9" fmla="*/ 16290 h 20457"/>
                <a:gd name="connsiteX10" fmla="*/ 16385 w 21119"/>
                <a:gd name="connsiteY10" fmla="*/ 0 h 20457"/>
                <a:gd name="connsiteX11" fmla="*/ 21120 w 21119"/>
                <a:gd name="connsiteY11" fmla="*/ 0 h 20457"/>
                <a:gd name="connsiteX12" fmla="*/ 21120 w 21119"/>
                <a:gd name="connsiteY12" fmla="*/ 20457 h 20457"/>
                <a:gd name="connsiteX13" fmla="*/ 17900 w 21119"/>
                <a:gd name="connsiteY13" fmla="*/ 20457 h 20457"/>
                <a:gd name="connsiteX14" fmla="*/ 17900 w 21119"/>
                <a:gd name="connsiteY14" fmla="*/ 10323 h 20457"/>
                <a:gd name="connsiteX15" fmla="*/ 17995 w 21119"/>
                <a:gd name="connsiteY15" fmla="*/ 6345 h 20457"/>
                <a:gd name="connsiteX16" fmla="*/ 18137 w 21119"/>
                <a:gd name="connsiteY16" fmla="*/ 3362 h 20457"/>
                <a:gd name="connsiteX17" fmla="*/ 18042 w 21119"/>
                <a:gd name="connsiteY17" fmla="*/ 3362 h 20457"/>
                <a:gd name="connsiteX18" fmla="*/ 11886 w 21119"/>
                <a:gd name="connsiteY18" fmla="*/ 20410 h 20457"/>
                <a:gd name="connsiteX19" fmla="*/ 8808 w 21119"/>
                <a:gd name="connsiteY19" fmla="*/ 20410 h 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19" h="20457">
                  <a:moveTo>
                    <a:pt x="8808" y="20457"/>
                  </a:moveTo>
                  <a:lnTo>
                    <a:pt x="2889" y="3362"/>
                  </a:lnTo>
                  <a:lnTo>
                    <a:pt x="2794" y="3362"/>
                  </a:lnTo>
                  <a:cubicBezTo>
                    <a:pt x="2936" y="5919"/>
                    <a:pt x="3031" y="8287"/>
                    <a:pt x="3031" y="10513"/>
                  </a:cubicBezTo>
                  <a:lnTo>
                    <a:pt x="3031" y="20457"/>
                  </a:lnTo>
                  <a:lnTo>
                    <a:pt x="0" y="20457"/>
                  </a:lnTo>
                  <a:lnTo>
                    <a:pt x="0" y="0"/>
                  </a:lnTo>
                  <a:lnTo>
                    <a:pt x="4735" y="0"/>
                  </a:lnTo>
                  <a:lnTo>
                    <a:pt x="10418" y="16290"/>
                  </a:lnTo>
                  <a:lnTo>
                    <a:pt x="10513" y="16290"/>
                  </a:lnTo>
                  <a:lnTo>
                    <a:pt x="16385" y="0"/>
                  </a:lnTo>
                  <a:lnTo>
                    <a:pt x="21120" y="0"/>
                  </a:lnTo>
                  <a:lnTo>
                    <a:pt x="21120" y="20457"/>
                  </a:lnTo>
                  <a:lnTo>
                    <a:pt x="17900" y="20457"/>
                  </a:lnTo>
                  <a:lnTo>
                    <a:pt x="17900" y="10323"/>
                  </a:lnTo>
                  <a:cubicBezTo>
                    <a:pt x="17900" y="9329"/>
                    <a:pt x="17947" y="8003"/>
                    <a:pt x="17995" y="6345"/>
                  </a:cubicBezTo>
                  <a:cubicBezTo>
                    <a:pt x="18042" y="4735"/>
                    <a:pt x="18089" y="3741"/>
                    <a:pt x="18137" y="3362"/>
                  </a:cubicBezTo>
                  <a:lnTo>
                    <a:pt x="18042" y="3362"/>
                  </a:lnTo>
                  <a:lnTo>
                    <a:pt x="11886" y="20410"/>
                  </a:lnTo>
                  <a:lnTo>
                    <a:pt x="8808" y="20410"/>
                  </a:lnTo>
                  <a:close/>
                </a:path>
              </a:pathLst>
            </a:custGeom>
            <a:solidFill>
              <a:srgbClr val="575756"/>
            </a:solidFill>
            <a:ln w="438" cap="flat">
              <a:noFill/>
              <a:prstDash val="solid"/>
              <a:miter/>
            </a:ln>
          </p:spPr>
          <p:txBody>
            <a:bodyPr rtlCol="0" anchor="ctr"/>
            <a:lstStyle/>
            <a:p>
              <a:endParaRPr lang="en-US" sz="1013" b="0" i="0">
                <a:latin typeface="Nexa Book" pitchFamily="2" charset="77"/>
              </a:endParaRPr>
            </a:p>
          </p:txBody>
        </p:sp>
      </p:grpSp>
      <p:cxnSp>
        <p:nvCxnSpPr>
          <p:cNvPr id="76" name="Straight Connector 75">
            <a:extLst>
              <a:ext uri="{FF2B5EF4-FFF2-40B4-BE49-F238E27FC236}">
                <a16:creationId xmlns:a16="http://schemas.microsoft.com/office/drawing/2014/main" id="{92966CB5-93DA-8946-DEAE-EB274F6849FB}"/>
              </a:ext>
            </a:extLst>
          </p:cNvPr>
          <p:cNvCxnSpPr>
            <a:cxnSpLocks/>
          </p:cNvCxnSpPr>
          <p:nvPr/>
        </p:nvCxnSpPr>
        <p:spPr>
          <a:xfrm flipV="1">
            <a:off x="540000" y="771580"/>
            <a:ext cx="8100000" cy="366"/>
          </a:xfrm>
          <a:prstGeom prst="line">
            <a:avLst/>
          </a:prstGeom>
          <a:noFill/>
          <a:ln w="15875" cap="rnd" cmpd="sng" algn="ctr">
            <a:gradFill flip="none" rotWithShape="1">
              <a:gsLst>
                <a:gs pos="0">
                  <a:srgbClr val="006C6D"/>
                </a:gs>
                <a:gs pos="51007">
                  <a:srgbClr val="7ECAC4">
                    <a:lumMod val="20000"/>
                    <a:lumOff val="80000"/>
                  </a:srgbClr>
                </a:gs>
                <a:gs pos="37000">
                  <a:srgbClr val="00A097"/>
                </a:gs>
                <a:gs pos="66000">
                  <a:srgbClr val="00A097"/>
                </a:gs>
                <a:gs pos="100000">
                  <a:srgbClr val="006C6D"/>
                </a:gs>
              </a:gsLst>
              <a:path path="circle">
                <a:fillToRect l="100000" t="100000"/>
              </a:path>
              <a:tileRect r="-100000" b="-100000"/>
            </a:gradFill>
            <a:prstDash val="solid"/>
            <a:miter lim="800000"/>
          </a:ln>
          <a:effectLst/>
        </p:spPr>
      </p:cxn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40000" y="0"/>
            <a:ext cx="8118000" cy="770400"/>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40000" y="1131888"/>
            <a:ext cx="8118000"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Tree>
    <p:extLst>
      <p:ext uri="{BB962C8B-B14F-4D97-AF65-F5344CB8AC3E}">
        <p14:creationId xmlns:p14="http://schemas.microsoft.com/office/powerpoint/2010/main" val="304740809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Lst>
  <p:hf hdr="0" ftr="0"/>
  <p:txStyles>
    <p:titleStyle>
      <a:lvl1pPr algn="l" defTabSz="685783" rtl="0" eaLnBrk="1" latinLnBrk="0" hangingPunct="1">
        <a:lnSpc>
          <a:spcPct val="90000"/>
        </a:lnSpc>
        <a:spcBef>
          <a:spcPct val="0"/>
        </a:spcBef>
        <a:buNone/>
        <a:defRPr lang="en-AE" sz="1600" b="1"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40">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chart" Target="../charts/chart165.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chart" Target="../charts/chart166.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2" Type="http://schemas.openxmlformats.org/officeDocument/2006/relationships/chart" Target="../charts/chart167.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chart" Target="../charts/chart168.xml"/><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chart" Target="../charts/chart169.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chart" Target="../charts/chart170.xml"/><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chart" Target="../charts/chart171.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chart" Target="../charts/chart172.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chart" Target="../charts/chart173.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chart" Target="../charts/chart17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chart" Target="../charts/chart175.xml"/><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2" Type="http://schemas.openxmlformats.org/officeDocument/2006/relationships/chart" Target="../charts/chart176.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chart" Target="../charts/chart177.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chart" Target="../charts/chart178.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chart" Target="../charts/chart179.xml"/><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chart" Target="../charts/chart180.xml"/><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2" Type="http://schemas.openxmlformats.org/officeDocument/2006/relationships/chart" Target="../charts/chart181.xml"/><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chart" Target="../charts/chart18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2" Type="http://schemas.openxmlformats.org/officeDocument/2006/relationships/chart" Target="../charts/chart183.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chart" Target="../charts/chart18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2" Type="http://schemas.openxmlformats.org/officeDocument/2006/relationships/chart" Target="../charts/chart185.xml"/><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chart" Target="../charts/chart186.xml"/><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2" Type="http://schemas.openxmlformats.org/officeDocument/2006/relationships/chart" Target="../charts/chart187.xml"/><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2" Type="http://schemas.openxmlformats.org/officeDocument/2006/relationships/chart" Target="../charts/chart188.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2" Type="http://schemas.openxmlformats.org/officeDocument/2006/relationships/chart" Target="../charts/chart189.xml"/><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2" Type="http://schemas.openxmlformats.org/officeDocument/2006/relationships/chart" Target="../charts/chart190.xml"/><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2" Type="http://schemas.openxmlformats.org/officeDocument/2006/relationships/chart" Target="../charts/chart191.xml"/><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chart" Target="../charts/chart192.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2" Type="http://schemas.openxmlformats.org/officeDocument/2006/relationships/chart" Target="../charts/chart193.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2" Type="http://schemas.openxmlformats.org/officeDocument/2006/relationships/chart" Target="../charts/chart19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195.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chart" Target="../charts/chart196.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2" Type="http://schemas.openxmlformats.org/officeDocument/2006/relationships/chart" Target="../charts/chart197.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2" Type="http://schemas.openxmlformats.org/officeDocument/2006/relationships/chart" Target="../charts/chart198.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2" Type="http://schemas.openxmlformats.org/officeDocument/2006/relationships/chart" Target="../charts/chart199.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chart" Target="../charts/chart200.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chart" Target="../charts/chart201.xml"/><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2" Type="http://schemas.openxmlformats.org/officeDocument/2006/relationships/chart" Target="../charts/chart202.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2" Type="http://schemas.openxmlformats.org/officeDocument/2006/relationships/chart" Target="../charts/chart203.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chart" Target="../charts/chart20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87.emf"/></Relationships>
</file>

<file path=ppt/slides/_rels/slide1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chart" Target="../charts/chart5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chart" Target="../charts/chart6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chart" Target="../charts/chart7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84.xml"/><Relationship Id="rId2" Type="http://schemas.openxmlformats.org/officeDocument/2006/relationships/chart" Target="../charts/chart8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chart" Target="../charts/chart8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chart" Target="../charts/chart92.xml"/><Relationship Id="rId2" Type="http://schemas.openxmlformats.org/officeDocument/2006/relationships/chart" Target="../charts/chart9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94.xml"/><Relationship Id="rId2" Type="http://schemas.openxmlformats.org/officeDocument/2006/relationships/chart" Target="../charts/chart9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chart" Target="../charts/chart9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chart" Target="../charts/chart9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08.xml"/><Relationship Id="rId2" Type="http://schemas.openxmlformats.org/officeDocument/2006/relationships/chart" Target="../charts/chart10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chart" Target="../charts/chart110.xml"/><Relationship Id="rId2" Type="http://schemas.openxmlformats.org/officeDocument/2006/relationships/chart" Target="../charts/chart10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chart" Target="../charts/chart11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chart" Target="../charts/chart11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chart" Target="../charts/chart118.xml"/><Relationship Id="rId2" Type="http://schemas.openxmlformats.org/officeDocument/2006/relationships/chart" Target="../charts/chart117.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chart" Target="../charts/chart12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124.xml"/><Relationship Id="rId2" Type="http://schemas.openxmlformats.org/officeDocument/2006/relationships/chart" Target="../charts/chart1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126.xml"/><Relationship Id="rId2" Type="http://schemas.openxmlformats.org/officeDocument/2006/relationships/chart" Target="../charts/chart12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128.xml"/><Relationship Id="rId2" Type="http://schemas.openxmlformats.org/officeDocument/2006/relationships/chart" Target="../charts/chart127.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130.xml"/><Relationship Id="rId2" Type="http://schemas.openxmlformats.org/officeDocument/2006/relationships/chart" Target="../charts/chart129.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32.xml"/><Relationship Id="rId2" Type="http://schemas.openxmlformats.org/officeDocument/2006/relationships/chart" Target="../charts/chart13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134.xml"/><Relationship Id="rId2" Type="http://schemas.openxmlformats.org/officeDocument/2006/relationships/chart" Target="../charts/chart13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chart" Target="../charts/chart14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chart" Target="../charts/chart146.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chart" Target="../charts/chart147.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chart" Target="../charts/chart148.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chart" Target="../charts/chart14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chart" Target="../charts/chart150.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chart" Target="../charts/chart151.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chart" Target="../charts/chart152.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chart" Target="../charts/chart153.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chart" Target="../charts/chart15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chart" Target="../charts/chart155.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chart" Target="../charts/chart156.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chart" Target="../charts/chart157.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chart" Target="../charts/chart158.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chart" Target="../charts/chart159.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chart" Target="../charts/chart160.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chart" Target="../charts/chart161.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chart" Target="../charts/chart162.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chart" Target="../charts/chart163.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chart" Target="../charts/chart16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1</a:t>
            </a:fld>
            <a:endParaRPr lang="en-US"/>
          </a:p>
        </p:txBody>
      </p:sp>
    </p:spTree>
    <p:extLst>
      <p:ext uri="{BB962C8B-B14F-4D97-AF65-F5344CB8AC3E}">
        <p14:creationId xmlns:p14="http://schemas.microsoft.com/office/powerpoint/2010/main" val="3917213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0</a:t>
            </a:fld>
            <a:endParaRPr lang="en-US"/>
          </a:p>
        </p:txBody>
      </p:sp>
    </p:spTree>
    <p:extLst>
      <p:ext uri="{BB962C8B-B14F-4D97-AF65-F5344CB8AC3E}">
        <p14:creationId xmlns:p14="http://schemas.microsoft.com/office/powerpoint/2010/main" val="13311480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0</a:t>
            </a:fld>
            <a:endParaRPr lang="en-US"/>
          </a:p>
        </p:txBody>
      </p:sp>
    </p:spTree>
    <p:extLst>
      <p:ext uri="{BB962C8B-B14F-4D97-AF65-F5344CB8AC3E}">
        <p14:creationId xmlns:p14="http://schemas.microsoft.com/office/powerpoint/2010/main" val="68292321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1</a:t>
            </a:fld>
            <a:endParaRPr lang="en-US"/>
          </a:p>
        </p:txBody>
      </p:sp>
    </p:spTree>
    <p:extLst>
      <p:ext uri="{BB962C8B-B14F-4D97-AF65-F5344CB8AC3E}">
        <p14:creationId xmlns:p14="http://schemas.microsoft.com/office/powerpoint/2010/main" val="22922326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2</a:t>
            </a:fld>
            <a:endParaRPr lang="en-US"/>
          </a:p>
        </p:txBody>
      </p:sp>
    </p:spTree>
    <p:extLst>
      <p:ext uri="{BB962C8B-B14F-4D97-AF65-F5344CB8AC3E}">
        <p14:creationId xmlns:p14="http://schemas.microsoft.com/office/powerpoint/2010/main" val="210996806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3</a:t>
            </a:fld>
            <a:endParaRPr lang="en-US"/>
          </a:p>
        </p:txBody>
      </p:sp>
    </p:spTree>
    <p:extLst>
      <p:ext uri="{BB962C8B-B14F-4D97-AF65-F5344CB8AC3E}">
        <p14:creationId xmlns:p14="http://schemas.microsoft.com/office/powerpoint/2010/main" val="328499079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4</a:t>
            </a:fld>
            <a:endParaRPr lang="en-US"/>
          </a:p>
        </p:txBody>
      </p:sp>
    </p:spTree>
    <p:extLst>
      <p:ext uri="{BB962C8B-B14F-4D97-AF65-F5344CB8AC3E}">
        <p14:creationId xmlns:p14="http://schemas.microsoft.com/office/powerpoint/2010/main" val="314559872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5</a:t>
            </a:fld>
            <a:endParaRPr lang="en-US"/>
          </a:p>
        </p:txBody>
      </p:sp>
    </p:spTree>
    <p:extLst>
      <p:ext uri="{BB962C8B-B14F-4D97-AF65-F5344CB8AC3E}">
        <p14:creationId xmlns:p14="http://schemas.microsoft.com/office/powerpoint/2010/main" val="27148265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6</a:t>
            </a:fld>
            <a:endParaRPr lang="en-US"/>
          </a:p>
        </p:txBody>
      </p:sp>
    </p:spTree>
    <p:extLst>
      <p:ext uri="{BB962C8B-B14F-4D97-AF65-F5344CB8AC3E}">
        <p14:creationId xmlns:p14="http://schemas.microsoft.com/office/powerpoint/2010/main" val="13485744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7</a:t>
            </a:fld>
            <a:endParaRPr lang="en-US"/>
          </a:p>
        </p:txBody>
      </p:sp>
    </p:spTree>
    <p:extLst>
      <p:ext uri="{BB962C8B-B14F-4D97-AF65-F5344CB8AC3E}">
        <p14:creationId xmlns:p14="http://schemas.microsoft.com/office/powerpoint/2010/main" val="213585835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8</a:t>
            </a:fld>
            <a:endParaRPr lang="en-US"/>
          </a:p>
        </p:txBody>
      </p:sp>
    </p:spTree>
    <p:extLst>
      <p:ext uri="{BB962C8B-B14F-4D97-AF65-F5344CB8AC3E}">
        <p14:creationId xmlns:p14="http://schemas.microsoft.com/office/powerpoint/2010/main" val="384287036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09</a:t>
            </a:fld>
            <a:endParaRPr lang="en-US"/>
          </a:p>
        </p:txBody>
      </p:sp>
    </p:spTree>
    <p:extLst>
      <p:ext uri="{BB962C8B-B14F-4D97-AF65-F5344CB8AC3E}">
        <p14:creationId xmlns:p14="http://schemas.microsoft.com/office/powerpoint/2010/main" val="41848949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1</a:t>
            </a:fld>
            <a:endParaRPr lang="en-US"/>
          </a:p>
        </p:txBody>
      </p:sp>
    </p:spTree>
    <p:extLst>
      <p:ext uri="{BB962C8B-B14F-4D97-AF65-F5344CB8AC3E}">
        <p14:creationId xmlns:p14="http://schemas.microsoft.com/office/powerpoint/2010/main" val="101716075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0</a:t>
            </a:fld>
            <a:endParaRPr lang="en-US"/>
          </a:p>
        </p:txBody>
      </p:sp>
    </p:spTree>
    <p:extLst>
      <p:ext uri="{BB962C8B-B14F-4D97-AF65-F5344CB8AC3E}">
        <p14:creationId xmlns:p14="http://schemas.microsoft.com/office/powerpoint/2010/main" val="392257066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1</a:t>
            </a:fld>
            <a:endParaRPr lang="en-US"/>
          </a:p>
        </p:txBody>
      </p:sp>
    </p:spTree>
    <p:extLst>
      <p:ext uri="{BB962C8B-B14F-4D97-AF65-F5344CB8AC3E}">
        <p14:creationId xmlns:p14="http://schemas.microsoft.com/office/powerpoint/2010/main" val="19621271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2</a:t>
            </a:fld>
            <a:endParaRPr lang="en-US"/>
          </a:p>
        </p:txBody>
      </p:sp>
    </p:spTree>
    <p:extLst>
      <p:ext uri="{BB962C8B-B14F-4D97-AF65-F5344CB8AC3E}">
        <p14:creationId xmlns:p14="http://schemas.microsoft.com/office/powerpoint/2010/main" val="39302787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3</a:t>
            </a:fld>
            <a:endParaRPr lang="en-US"/>
          </a:p>
        </p:txBody>
      </p:sp>
    </p:spTree>
    <p:extLst>
      <p:ext uri="{BB962C8B-B14F-4D97-AF65-F5344CB8AC3E}">
        <p14:creationId xmlns:p14="http://schemas.microsoft.com/office/powerpoint/2010/main" val="433142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4</a:t>
            </a:fld>
            <a:endParaRPr lang="en-US"/>
          </a:p>
        </p:txBody>
      </p:sp>
    </p:spTree>
    <p:extLst>
      <p:ext uri="{BB962C8B-B14F-4D97-AF65-F5344CB8AC3E}">
        <p14:creationId xmlns:p14="http://schemas.microsoft.com/office/powerpoint/2010/main" val="250460313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5</a:t>
            </a:fld>
            <a:endParaRPr lang="en-US"/>
          </a:p>
        </p:txBody>
      </p:sp>
    </p:spTree>
    <p:extLst>
      <p:ext uri="{BB962C8B-B14F-4D97-AF65-F5344CB8AC3E}">
        <p14:creationId xmlns:p14="http://schemas.microsoft.com/office/powerpoint/2010/main" val="292062117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6</a:t>
            </a:fld>
            <a:endParaRPr lang="en-US"/>
          </a:p>
        </p:txBody>
      </p:sp>
    </p:spTree>
    <p:extLst>
      <p:ext uri="{BB962C8B-B14F-4D97-AF65-F5344CB8AC3E}">
        <p14:creationId xmlns:p14="http://schemas.microsoft.com/office/powerpoint/2010/main" val="279632686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7</a:t>
            </a:fld>
            <a:endParaRPr lang="en-US"/>
          </a:p>
        </p:txBody>
      </p:sp>
    </p:spTree>
    <p:extLst>
      <p:ext uri="{BB962C8B-B14F-4D97-AF65-F5344CB8AC3E}">
        <p14:creationId xmlns:p14="http://schemas.microsoft.com/office/powerpoint/2010/main" val="309794905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8</a:t>
            </a:fld>
            <a:endParaRPr lang="en-US"/>
          </a:p>
        </p:txBody>
      </p:sp>
    </p:spTree>
    <p:extLst>
      <p:ext uri="{BB962C8B-B14F-4D97-AF65-F5344CB8AC3E}">
        <p14:creationId xmlns:p14="http://schemas.microsoft.com/office/powerpoint/2010/main" val="88528359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19</a:t>
            </a:fld>
            <a:endParaRPr lang="en-US"/>
          </a:p>
        </p:txBody>
      </p:sp>
    </p:spTree>
    <p:extLst>
      <p:ext uri="{BB962C8B-B14F-4D97-AF65-F5344CB8AC3E}">
        <p14:creationId xmlns:p14="http://schemas.microsoft.com/office/powerpoint/2010/main" val="855214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2</a:t>
            </a:fld>
            <a:endParaRPr lang="en-US"/>
          </a:p>
        </p:txBody>
      </p:sp>
    </p:spTree>
    <p:extLst>
      <p:ext uri="{BB962C8B-B14F-4D97-AF65-F5344CB8AC3E}">
        <p14:creationId xmlns:p14="http://schemas.microsoft.com/office/powerpoint/2010/main" val="316231695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0</a:t>
            </a:fld>
            <a:endParaRPr lang="en-US"/>
          </a:p>
        </p:txBody>
      </p:sp>
    </p:spTree>
    <p:extLst>
      <p:ext uri="{BB962C8B-B14F-4D97-AF65-F5344CB8AC3E}">
        <p14:creationId xmlns:p14="http://schemas.microsoft.com/office/powerpoint/2010/main" val="349786142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1</a:t>
            </a:fld>
            <a:endParaRPr lang="en-US"/>
          </a:p>
        </p:txBody>
      </p:sp>
    </p:spTree>
    <p:extLst>
      <p:ext uri="{BB962C8B-B14F-4D97-AF65-F5344CB8AC3E}">
        <p14:creationId xmlns:p14="http://schemas.microsoft.com/office/powerpoint/2010/main" val="398156060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2</a:t>
            </a:fld>
            <a:endParaRPr lang="en-US"/>
          </a:p>
        </p:txBody>
      </p:sp>
    </p:spTree>
    <p:extLst>
      <p:ext uri="{BB962C8B-B14F-4D97-AF65-F5344CB8AC3E}">
        <p14:creationId xmlns:p14="http://schemas.microsoft.com/office/powerpoint/2010/main" val="268025870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3</a:t>
            </a:fld>
            <a:endParaRPr lang="en-US"/>
          </a:p>
        </p:txBody>
      </p:sp>
    </p:spTree>
    <p:extLst>
      <p:ext uri="{BB962C8B-B14F-4D97-AF65-F5344CB8AC3E}">
        <p14:creationId xmlns:p14="http://schemas.microsoft.com/office/powerpoint/2010/main" val="189090758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4</a:t>
            </a:fld>
            <a:endParaRPr lang="en-US"/>
          </a:p>
        </p:txBody>
      </p:sp>
    </p:spTree>
    <p:extLst>
      <p:ext uri="{BB962C8B-B14F-4D97-AF65-F5344CB8AC3E}">
        <p14:creationId xmlns:p14="http://schemas.microsoft.com/office/powerpoint/2010/main" val="33838502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5</a:t>
            </a:fld>
            <a:endParaRPr lang="en-US"/>
          </a:p>
        </p:txBody>
      </p:sp>
    </p:spTree>
    <p:extLst>
      <p:ext uri="{BB962C8B-B14F-4D97-AF65-F5344CB8AC3E}">
        <p14:creationId xmlns:p14="http://schemas.microsoft.com/office/powerpoint/2010/main" val="368112386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6</a:t>
            </a:fld>
            <a:endParaRPr lang="en-US"/>
          </a:p>
        </p:txBody>
      </p:sp>
    </p:spTree>
    <p:extLst>
      <p:ext uri="{BB962C8B-B14F-4D97-AF65-F5344CB8AC3E}">
        <p14:creationId xmlns:p14="http://schemas.microsoft.com/office/powerpoint/2010/main" val="110728254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7</a:t>
            </a:fld>
            <a:endParaRPr lang="en-US"/>
          </a:p>
        </p:txBody>
      </p:sp>
    </p:spTree>
    <p:extLst>
      <p:ext uri="{BB962C8B-B14F-4D97-AF65-F5344CB8AC3E}">
        <p14:creationId xmlns:p14="http://schemas.microsoft.com/office/powerpoint/2010/main" val="19254351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8</a:t>
            </a:fld>
            <a:endParaRPr lang="en-US"/>
          </a:p>
        </p:txBody>
      </p:sp>
    </p:spTree>
    <p:extLst>
      <p:ext uri="{BB962C8B-B14F-4D97-AF65-F5344CB8AC3E}">
        <p14:creationId xmlns:p14="http://schemas.microsoft.com/office/powerpoint/2010/main" val="53933815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29</a:t>
            </a:fld>
            <a:endParaRPr lang="en-US"/>
          </a:p>
        </p:txBody>
      </p:sp>
    </p:spTree>
    <p:extLst>
      <p:ext uri="{BB962C8B-B14F-4D97-AF65-F5344CB8AC3E}">
        <p14:creationId xmlns:p14="http://schemas.microsoft.com/office/powerpoint/2010/main" val="3751026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3</a:t>
            </a:fld>
            <a:endParaRPr lang="en-US"/>
          </a:p>
        </p:txBody>
      </p:sp>
    </p:spTree>
    <p:extLst>
      <p:ext uri="{BB962C8B-B14F-4D97-AF65-F5344CB8AC3E}">
        <p14:creationId xmlns:p14="http://schemas.microsoft.com/office/powerpoint/2010/main" val="13532196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0</a:t>
            </a:fld>
            <a:endParaRPr lang="en-US"/>
          </a:p>
        </p:txBody>
      </p:sp>
    </p:spTree>
    <p:extLst>
      <p:ext uri="{BB962C8B-B14F-4D97-AF65-F5344CB8AC3E}">
        <p14:creationId xmlns:p14="http://schemas.microsoft.com/office/powerpoint/2010/main" val="266566730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1</a:t>
            </a:fld>
            <a:endParaRPr lang="en-US"/>
          </a:p>
        </p:txBody>
      </p:sp>
    </p:spTree>
    <p:extLst>
      <p:ext uri="{BB962C8B-B14F-4D97-AF65-F5344CB8AC3E}">
        <p14:creationId xmlns:p14="http://schemas.microsoft.com/office/powerpoint/2010/main" val="38650921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2</a:t>
            </a:fld>
            <a:endParaRPr lang="en-US"/>
          </a:p>
        </p:txBody>
      </p:sp>
    </p:spTree>
    <p:extLst>
      <p:ext uri="{BB962C8B-B14F-4D97-AF65-F5344CB8AC3E}">
        <p14:creationId xmlns:p14="http://schemas.microsoft.com/office/powerpoint/2010/main" val="326616546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3</a:t>
            </a:fld>
            <a:endParaRPr lang="en-US"/>
          </a:p>
        </p:txBody>
      </p:sp>
    </p:spTree>
    <p:extLst>
      <p:ext uri="{BB962C8B-B14F-4D97-AF65-F5344CB8AC3E}">
        <p14:creationId xmlns:p14="http://schemas.microsoft.com/office/powerpoint/2010/main" val="19038582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4</a:t>
            </a:fld>
            <a:endParaRPr lang="en-US"/>
          </a:p>
        </p:txBody>
      </p:sp>
    </p:spTree>
    <p:extLst>
      <p:ext uri="{BB962C8B-B14F-4D97-AF65-F5344CB8AC3E}">
        <p14:creationId xmlns:p14="http://schemas.microsoft.com/office/powerpoint/2010/main" val="249912406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5</a:t>
            </a:fld>
            <a:endParaRPr lang="en-US"/>
          </a:p>
        </p:txBody>
      </p:sp>
    </p:spTree>
    <p:extLst>
      <p:ext uri="{BB962C8B-B14F-4D97-AF65-F5344CB8AC3E}">
        <p14:creationId xmlns:p14="http://schemas.microsoft.com/office/powerpoint/2010/main" val="383413751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6</a:t>
            </a:fld>
            <a:endParaRPr lang="en-US"/>
          </a:p>
        </p:txBody>
      </p:sp>
    </p:spTree>
    <p:extLst>
      <p:ext uri="{BB962C8B-B14F-4D97-AF65-F5344CB8AC3E}">
        <p14:creationId xmlns:p14="http://schemas.microsoft.com/office/powerpoint/2010/main" val="230955956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7</a:t>
            </a:fld>
            <a:endParaRPr lang="en-US"/>
          </a:p>
        </p:txBody>
      </p:sp>
    </p:spTree>
    <p:extLst>
      <p:ext uri="{BB962C8B-B14F-4D97-AF65-F5344CB8AC3E}">
        <p14:creationId xmlns:p14="http://schemas.microsoft.com/office/powerpoint/2010/main" val="157827067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8</a:t>
            </a:fld>
            <a:endParaRPr lang="en-US"/>
          </a:p>
        </p:txBody>
      </p:sp>
    </p:spTree>
    <p:extLst>
      <p:ext uri="{BB962C8B-B14F-4D97-AF65-F5344CB8AC3E}">
        <p14:creationId xmlns:p14="http://schemas.microsoft.com/office/powerpoint/2010/main" val="125487032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139</a:t>
            </a:fld>
            <a:endParaRPr lang="en-US"/>
          </a:p>
        </p:txBody>
      </p:sp>
    </p:spTree>
    <p:extLst>
      <p:ext uri="{BB962C8B-B14F-4D97-AF65-F5344CB8AC3E}">
        <p14:creationId xmlns:p14="http://schemas.microsoft.com/office/powerpoint/2010/main" val="21493836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4</a:t>
            </a:fld>
            <a:endParaRPr lang="en-US"/>
          </a:p>
        </p:txBody>
      </p:sp>
    </p:spTree>
    <p:extLst>
      <p:ext uri="{BB962C8B-B14F-4D97-AF65-F5344CB8AC3E}">
        <p14:creationId xmlns:p14="http://schemas.microsoft.com/office/powerpoint/2010/main" val="188756287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0</a:t>
            </a:fld>
            <a:endParaRPr lang="en-US"/>
          </a:p>
        </p:txBody>
      </p:sp>
    </p:spTree>
    <p:extLst>
      <p:ext uri="{BB962C8B-B14F-4D97-AF65-F5344CB8AC3E}">
        <p14:creationId xmlns:p14="http://schemas.microsoft.com/office/powerpoint/2010/main" val="131201975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1</a:t>
            </a:fld>
            <a:endParaRPr lang="en-US"/>
          </a:p>
        </p:txBody>
      </p:sp>
    </p:spTree>
    <p:extLst>
      <p:ext uri="{BB962C8B-B14F-4D97-AF65-F5344CB8AC3E}">
        <p14:creationId xmlns:p14="http://schemas.microsoft.com/office/powerpoint/2010/main" val="69201370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2</a:t>
            </a:fld>
            <a:endParaRPr lang="en-US"/>
          </a:p>
        </p:txBody>
      </p:sp>
    </p:spTree>
    <p:extLst>
      <p:ext uri="{BB962C8B-B14F-4D97-AF65-F5344CB8AC3E}">
        <p14:creationId xmlns:p14="http://schemas.microsoft.com/office/powerpoint/2010/main" val="5162720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3</a:t>
            </a:fld>
            <a:endParaRPr lang="en-US"/>
          </a:p>
        </p:txBody>
      </p:sp>
    </p:spTree>
    <p:extLst>
      <p:ext uri="{BB962C8B-B14F-4D97-AF65-F5344CB8AC3E}">
        <p14:creationId xmlns:p14="http://schemas.microsoft.com/office/powerpoint/2010/main" val="178158170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D629C2B-4852-A793-BFFD-28711000BF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think-cell data - do not delete" hidden="1">
                        <a:extLst>
                          <a:ext uri="{FF2B5EF4-FFF2-40B4-BE49-F238E27FC236}">
                            <a16:creationId xmlns:a16="http://schemas.microsoft.com/office/drawing/2014/main" id="{9D629C2B-4852-A793-BFFD-28711000B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C809BD5A-F4AE-5909-2264-5CC4A0BF8FD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E312717C-5966-B03B-27B7-35239F65ADDF}"/>
              </a:ext>
            </a:extLst>
          </p:cNvPr>
          <p:cNvSpPr>
            <a:spLocks noGrp="1"/>
          </p:cNvSpPr>
          <p:nvPr>
            <p:ph type="body" sz="quarter" idx="17"/>
          </p:nvPr>
        </p:nvSpPr>
        <p:spPr>
          <a:xfrm>
            <a:off x="0" y="4734106"/>
            <a:ext cx="4572000" cy="222878"/>
          </a:xfrm>
        </p:spPr>
        <p:txBody>
          <a:bodyPr/>
          <a:lstStyle/>
          <a:p>
            <a:r>
              <a:rPr lang="en-US"/>
              <a:t>DATA SOURCE: Consumer Test | May 2024</a:t>
            </a:r>
          </a:p>
        </p:txBody>
      </p:sp>
      <p:sp>
        <p:nvSpPr>
          <p:cNvPr id="6" name="Text Placeholder 5">
            <a:extLst>
              <a:ext uri="{FF2B5EF4-FFF2-40B4-BE49-F238E27FC236}">
                <a16:creationId xmlns:a16="http://schemas.microsoft.com/office/drawing/2014/main" id="{23E9FAE9-1172-D571-A43E-2A91A05992DD}"/>
              </a:ext>
            </a:extLst>
          </p:cNvPr>
          <p:cNvSpPr>
            <a:spLocks noGrp="1"/>
          </p:cNvSpPr>
          <p:nvPr>
            <p:ph type="body" sz="quarter" idx="18"/>
          </p:nvPr>
        </p:nvSpPr>
        <p:spPr>
          <a:xfrm>
            <a:off x="503238" y="774000"/>
            <a:ext cx="8136762" cy="360000"/>
          </a:xfrm>
        </p:spPr>
        <p:txBody>
          <a:bodyPr>
            <a:normAutofit/>
          </a:bodyPr>
          <a:lstStyle/>
          <a:p>
            <a:r>
              <a:rPr lang="en-US"/>
              <a:t>Size Elasticity | Traditional Trade | Assumes no other products are changing prices or sizes</a:t>
            </a:r>
            <a:endParaRPr lang="en-GB" dirty="0"/>
          </a:p>
        </p:txBody>
      </p:sp>
      <p:sp>
        <p:nvSpPr>
          <p:cNvPr id="7" name="Title 6">
            <a:extLst>
              <a:ext uri="{FF2B5EF4-FFF2-40B4-BE49-F238E27FC236}">
                <a16:creationId xmlns:a16="http://schemas.microsoft.com/office/drawing/2014/main" id="{41C70F53-EE5A-3FB3-C331-7B6C9CF93CED}"/>
              </a:ext>
            </a:extLst>
          </p:cNvPr>
          <p:cNvSpPr>
            <a:spLocks noGrp="1"/>
          </p:cNvSpPr>
          <p:nvPr>
            <p:ph type="title"/>
          </p:nvPr>
        </p:nvSpPr>
        <p:spPr>
          <a:xfrm>
            <a:off x="504000" y="-1"/>
            <a:ext cx="8136000" cy="771525"/>
          </a:xfrm>
          <a:noFill/>
        </p:spPr>
        <p:txBody>
          <a:bodyPr vert="horz"/>
          <a:lstStyle/>
          <a:p>
            <a:r>
              <a:rPr lang="en-GB" dirty="0">
                <a:highlight>
                  <a:srgbClr val="FFFF00"/>
                </a:highlight>
              </a:rPr>
              <a:t>SE Slide</a:t>
            </a:r>
            <a:r>
              <a:rPr lang="en-US" dirty="0">
                <a:highlight>
                  <a:srgbClr val="FFFF00"/>
                </a:highlight>
              </a:rPr>
              <a: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9" name="Table 8">
            <a:extLst>
              <a:ext uri="{FF2B5EF4-FFF2-40B4-BE49-F238E27FC236}">
                <a16:creationId xmlns:a16="http://schemas.microsoft.com/office/drawing/2014/main" id="{4B40E8EC-D33D-F88F-E7D8-15B0189EF613}"/>
              </a:ext>
            </a:extLst>
          </p:cNvPr>
          <p:cNvGraphicFramePr>
            <a:graphicFrameLocks noGrp="1"/>
          </p:cNvGraphicFramePr>
          <p:nvPr/>
        </p:nvGraphicFramePr>
        <p:xfrm>
          <a:off x="546970" y="1137285"/>
          <a:ext cx="8093792" cy="3464206"/>
        </p:xfrm>
        <a:graphic>
          <a:graphicData uri="http://schemas.openxmlformats.org/drawingml/2006/table">
            <a:tbl>
              <a:tblPr/>
              <a:tblGrid>
                <a:gridCol w="2259173">
                  <a:extLst>
                    <a:ext uri="{9D8B030D-6E8A-4147-A177-3AD203B41FA5}">
                      <a16:colId xmlns:a16="http://schemas.microsoft.com/office/drawing/2014/main" val="4140393679"/>
                    </a:ext>
                  </a:extLst>
                </a:gridCol>
                <a:gridCol w="648291">
                  <a:extLst>
                    <a:ext uri="{9D8B030D-6E8A-4147-A177-3AD203B41FA5}">
                      <a16:colId xmlns:a16="http://schemas.microsoft.com/office/drawing/2014/main" val="1116223135"/>
                    </a:ext>
                  </a:extLst>
                </a:gridCol>
                <a:gridCol w="648291">
                  <a:extLst>
                    <a:ext uri="{9D8B030D-6E8A-4147-A177-3AD203B41FA5}">
                      <a16:colId xmlns:a16="http://schemas.microsoft.com/office/drawing/2014/main" val="3791326800"/>
                    </a:ext>
                  </a:extLst>
                </a:gridCol>
                <a:gridCol w="648291">
                  <a:extLst>
                    <a:ext uri="{9D8B030D-6E8A-4147-A177-3AD203B41FA5}">
                      <a16:colId xmlns:a16="http://schemas.microsoft.com/office/drawing/2014/main" val="4065833276"/>
                    </a:ext>
                  </a:extLst>
                </a:gridCol>
                <a:gridCol w="648291">
                  <a:extLst>
                    <a:ext uri="{9D8B030D-6E8A-4147-A177-3AD203B41FA5}">
                      <a16:colId xmlns:a16="http://schemas.microsoft.com/office/drawing/2014/main" val="62708565"/>
                    </a:ext>
                  </a:extLst>
                </a:gridCol>
                <a:gridCol w="648291">
                  <a:extLst>
                    <a:ext uri="{9D8B030D-6E8A-4147-A177-3AD203B41FA5}">
                      <a16:colId xmlns:a16="http://schemas.microsoft.com/office/drawing/2014/main" val="31688122"/>
                    </a:ext>
                  </a:extLst>
                </a:gridCol>
                <a:gridCol w="648291">
                  <a:extLst>
                    <a:ext uri="{9D8B030D-6E8A-4147-A177-3AD203B41FA5}">
                      <a16:colId xmlns:a16="http://schemas.microsoft.com/office/drawing/2014/main" val="2454520991"/>
                    </a:ext>
                  </a:extLst>
                </a:gridCol>
                <a:gridCol w="648291">
                  <a:extLst>
                    <a:ext uri="{9D8B030D-6E8A-4147-A177-3AD203B41FA5}">
                      <a16:colId xmlns:a16="http://schemas.microsoft.com/office/drawing/2014/main" val="1148709605"/>
                    </a:ext>
                  </a:extLst>
                </a:gridCol>
                <a:gridCol w="648291">
                  <a:extLst>
                    <a:ext uri="{9D8B030D-6E8A-4147-A177-3AD203B41FA5}">
                      <a16:colId xmlns:a16="http://schemas.microsoft.com/office/drawing/2014/main" val="129273525"/>
                    </a:ext>
                  </a:extLst>
                </a:gridCol>
                <a:gridCol w="648291">
                  <a:extLst>
                    <a:ext uri="{9D8B030D-6E8A-4147-A177-3AD203B41FA5}">
                      <a16:colId xmlns:a16="http://schemas.microsoft.com/office/drawing/2014/main" val="654776367"/>
                    </a:ext>
                  </a:extLst>
                </a:gridCol>
              </a:tblGrid>
              <a:tr h="128649">
                <a:tc>
                  <a:txBody>
                    <a:bodyPr/>
                    <a:lstStyle/>
                    <a:p>
                      <a:pPr algn="l" fontAlgn="b"/>
                      <a:endParaRPr lang="en-US" sz="800" b="1" i="0" u="sng" strike="noStrike">
                        <a:solidFill>
                          <a:schemeClr val="tx1"/>
                        </a:solidFill>
                        <a:effectLst/>
                        <a:latin typeface="Nexa Bold" panose="00000800000000000000" pitchFamily="2" charset="0"/>
                      </a:endParaRPr>
                    </a:p>
                  </a:txBody>
                  <a:tcPr marL="1828" marR="1828" marT="1828"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endParaRPr lang="en-CH" sz="800" b="0" i="0" u="none" strike="noStrike">
                        <a:solidFill>
                          <a:schemeClr val="tx1"/>
                        </a:solidFill>
                        <a:effectLst/>
                        <a:latin typeface="Nexa Bold" panose="00000800000000000000" pitchFamily="2" charset="0"/>
                      </a:endParaRPr>
                    </a:p>
                  </a:txBody>
                  <a:tcPr marL="1828" marR="1828" marT="1828" marB="0" anchor="b">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6">
                  <a:txBody>
                    <a:bodyPr/>
                    <a:lstStyle/>
                    <a:p>
                      <a:pPr algn="ctr" fontAlgn="b"/>
                      <a:r>
                        <a:rPr lang="en-US" sz="800" b="1" i="0" u="none" strike="noStrike">
                          <a:solidFill>
                            <a:schemeClr val="tx1"/>
                          </a:solidFill>
                          <a:effectLst/>
                          <a:latin typeface="Nexa Bold" panose="00000800000000000000" pitchFamily="2" charset="0"/>
                        </a:rPr>
                        <a:t>Impact at product level</a:t>
                      </a:r>
                    </a:p>
                  </a:txBody>
                  <a:tcPr marL="1828" marR="1828" marT="1828" marB="0" anchor="b">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H"/>
                    </a:p>
                  </a:txBody>
                  <a:tcPr/>
                </a:tc>
                <a:tc hMerge="1">
                  <a:txBody>
                    <a:bodyPr/>
                    <a:lstStyle/>
                    <a:p>
                      <a:endParaRPr lang="en-CH"/>
                    </a:p>
                  </a:txBody>
                  <a:tcPr/>
                </a:tc>
                <a:tc hMerge="1">
                  <a:txBody>
                    <a:bodyPr/>
                    <a:lstStyle/>
                    <a:p>
                      <a:endParaRPr lang="en-AE"/>
                    </a:p>
                  </a:txBody>
                  <a:tcPr/>
                </a:tc>
                <a:tc hMerge="1">
                  <a:txBody>
                    <a:bodyPr/>
                    <a:lstStyle/>
                    <a:p>
                      <a:endParaRPr lang="en-CH"/>
                    </a:p>
                  </a:txBody>
                  <a:tcPr/>
                </a:tc>
                <a:tc hMerge="1">
                  <a:txBody>
                    <a:bodyPr/>
                    <a:lstStyle/>
                    <a:p>
                      <a:pPr algn="ctr" fontAlgn="b"/>
                      <a:r>
                        <a:rPr lang="en-CH" sz="900" b="1" i="0" u="none" strike="noStrike">
                          <a:solidFill>
                            <a:srgbClr val="000000"/>
                          </a:solidFill>
                          <a:effectLst/>
                          <a:latin typeface="+mj-lt"/>
                        </a:rPr>
                        <a:t> </a:t>
                      </a:r>
                    </a:p>
                  </a:txBody>
                  <a:tcPr marL="1828" marR="1828" marT="1828"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3974451"/>
                  </a:ext>
                </a:extLst>
              </a:tr>
              <a:tr h="255397">
                <a:tc>
                  <a:txBody>
                    <a:bodyPr/>
                    <a:lstStyle/>
                    <a:p>
                      <a:pPr algn="ctr" rtl="0" fontAlgn="ctr"/>
                      <a:r>
                        <a:rPr lang="en-US" sz="800" b="0" i="0" u="none" strike="noStrike">
                          <a:solidFill>
                            <a:srgbClr val="575555"/>
                          </a:solidFill>
                          <a:effectLst/>
                          <a:latin typeface="Nexa Bold" panose="00000800000000000000" pitchFamily="2" charset="0"/>
                        </a:rPr>
                        <a:t>Product</a:t>
                      </a:r>
                    </a:p>
                  </a:txBody>
                  <a:tcPr marL="1828" marR="1828" marT="1828" marB="0">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Base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New Siz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Change</a:t>
                      </a:r>
                    </a:p>
                  </a:txBody>
                  <a:tcPr marL="1828" marR="1828" marT="1828" marB="0">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Volum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Revenue</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Gross Profit</a:t>
                      </a:r>
                    </a:p>
                    <a:p>
                      <a:pPr algn="ctr" rtl="0" fontAlgn="ctr"/>
                      <a:r>
                        <a:rPr lang="en-US" sz="800" b="0" i="0" u="none" strike="noStrike">
                          <a:solidFill>
                            <a:srgbClr val="575555"/>
                          </a:solidFill>
                          <a:effectLst/>
                          <a:latin typeface="Nexa Bold" panose="00000800000000000000" pitchFamily="2" charset="0"/>
                        </a:rPr>
                        <a:t>Index</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ize </a:t>
                      </a:r>
                    </a:p>
                    <a:p>
                      <a:pPr algn="ctr" rtl="0" fontAlgn="ctr"/>
                      <a:r>
                        <a:rPr lang="en-US" sz="800" b="0" i="0" u="none" strike="noStrike">
                          <a:solidFill>
                            <a:srgbClr val="575555"/>
                          </a:solidFill>
                          <a:effectLst/>
                          <a:latin typeface="Nexa Bold" panose="00000800000000000000" pitchFamily="2" charset="0"/>
                        </a:rPr>
                        <a:t>Elasticity</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i="0" u="none" strike="noStrike">
                          <a:solidFill>
                            <a:srgbClr val="575555"/>
                          </a:solidFill>
                          <a:effectLst/>
                          <a:latin typeface="Nexa Bold" panose="00000800000000000000" pitchFamily="2" charset="0"/>
                        </a:rPr>
                        <a:t>SCD PE</a:t>
                      </a:r>
                    </a:p>
                  </a:txBody>
                  <a:tcPr marL="1828" marR="1828" marT="1828"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749" rtl="0" eaLnBrk="1" fontAlgn="ctr" latinLnBrk="0" hangingPunct="1">
                        <a:lnSpc>
                          <a:spcPct val="100000"/>
                        </a:lnSpc>
                        <a:spcBef>
                          <a:spcPts val="0"/>
                        </a:spcBef>
                        <a:spcAft>
                          <a:spcPts val="0"/>
                        </a:spcAft>
                        <a:buClrTx/>
                        <a:buSzTx/>
                        <a:buFontTx/>
                        <a:buNone/>
                        <a:tabLst/>
                        <a:defRPr/>
                      </a:pPr>
                      <a:r>
                        <a:rPr lang="en-US" sz="800" b="0" i="0" u="none" strike="noStrike">
                          <a:solidFill>
                            <a:srgbClr val="575555"/>
                          </a:solidFill>
                          <a:effectLst/>
                          <a:latin typeface="Nexa Bold" panose="00000800000000000000" pitchFamily="2" charset="0"/>
                        </a:rPr>
                        <a:t>PCD PE</a:t>
                      </a:r>
                    </a:p>
                  </a:txBody>
                  <a:tcPr marL="1828" marR="1828" marT="1828" marB="0">
                    <a:lnL w="190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5018296"/>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4.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3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6.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4.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5625324"/>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9.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1.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2.</a:t>
                      </a:r>
                      <a:r>
                        <a:rPr lang="fr-CH" sz="700" b="0" i="0" u="none" strike="noStrike" kern="1200">
                          <a:solidFill>
                            <a:schemeClr val="tx2"/>
                          </a:solidFill>
                          <a:effectLst/>
                          <a:latin typeface="+mn-lt"/>
                          <a:ea typeface="+mn-ea"/>
                          <a:cs typeface="+mn-cs"/>
                        </a:rPr>
                        <a:t>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285486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20</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3.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5</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6060726"/>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2.0</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38.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054186"/>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7.3</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6</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463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5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57.1</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4.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67.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1</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3.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878489"/>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NL" sz="700" b="0" i="0" u="none" strike="noStrike" kern="1200">
                          <a:solidFill>
                            <a:schemeClr val="tx2"/>
                          </a:solidFill>
                          <a:effectLst/>
                          <a:latin typeface="+mn-lt"/>
                          <a:ea typeface="+mn-ea"/>
                          <a:cs typeface="+mn-cs"/>
                        </a:rPr>
                        <a:t>-</a:t>
                      </a:r>
                      <a:r>
                        <a:rPr lang="fr-CH" sz="700" b="0" i="0" u="none" strike="noStrike" kern="1200">
                          <a:solidFill>
                            <a:schemeClr val="tx2"/>
                          </a:solidFill>
                          <a:effectLst/>
                          <a:latin typeface="+mn-lt"/>
                          <a:ea typeface="+mn-ea"/>
                          <a:cs typeface="+mn-cs"/>
                        </a:rPr>
                        <a:t>12</a:t>
                      </a:r>
                      <a:r>
                        <a:rPr lang="en-NL" sz="700" b="0" i="0" u="none" strike="noStrike" kern="1200">
                          <a:solidFill>
                            <a:schemeClr val="tx2"/>
                          </a:solidFill>
                          <a:effectLst/>
                          <a:latin typeface="+mn-lt"/>
                          <a:ea typeface="+mn-ea"/>
                          <a:cs typeface="+mn-cs"/>
                        </a:rPr>
                        <a:t>%</a:t>
                      </a: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8.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2.1</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1.0</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221768"/>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7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1.7</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8.3</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71.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AE" sz="700" b="0" i="0" u="none" strike="noStrike">
                          <a:solidFill>
                            <a:schemeClr val="tx2"/>
                          </a:solidFill>
                          <a:effectLst/>
                          <a:latin typeface="+mn-lt"/>
                        </a:rPr>
                        <a:t>0.9</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7617514"/>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Desperados </a:t>
                      </a:r>
                      <a:r>
                        <a:rPr lang="en-US" sz="600" b="1" i="0" u="none" strike="noStrike" kern="1200" err="1">
                          <a:solidFill>
                            <a:schemeClr val="tx2"/>
                          </a:solidFill>
                          <a:effectLst/>
                          <a:latin typeface="Nexa Bold" panose="00000800000000000000" pitchFamily="2" charset="0"/>
                          <a:ea typeface="+mn-ea"/>
                          <a:cs typeface="+mn-cs"/>
                        </a:rPr>
                        <a:t>Sticla</a:t>
                      </a:r>
                      <a:r>
                        <a:rPr lang="en-US" sz="600" b="1" i="0" u="none" strike="noStrike" kern="1200">
                          <a:solidFill>
                            <a:schemeClr val="tx2"/>
                          </a:solidFill>
                          <a:effectLst/>
                          <a:latin typeface="Nexa Bold" panose="00000800000000000000" pitchFamily="2" charset="0"/>
                          <a:ea typeface="+mn-ea"/>
                          <a:cs typeface="+mn-cs"/>
                        </a:rPr>
                        <a:t> 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4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0.33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8%</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5.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3.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0.6</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773987"/>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2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90.5</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2.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14.9</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8</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031365"/>
                  </a:ext>
                </a:extLst>
              </a:tr>
              <a:tr h="154008">
                <a:tc>
                  <a:txBody>
                    <a:bodyPr/>
                    <a:lstStyle/>
                    <a:p>
                      <a:pPr marL="0" algn="l" defTabSz="685783" rtl="0" eaLnBrk="1" fontAlgn="ctr" latinLnBrk="0" hangingPunct="1"/>
                      <a:endParaRPr lang="en-US"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US" sz="700" b="0" i="0" u="none" strike="noStrike" kern="1200">
                          <a:solidFill>
                            <a:schemeClr val="tx2"/>
                          </a:solidFill>
                          <a:effectLst/>
                          <a:latin typeface="+mn-lt"/>
                          <a:ea typeface="+mn-ea"/>
                          <a:cs typeface="+mn-cs"/>
                        </a:rPr>
                        <a:t>2.0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2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86.6</a:t>
                      </a:r>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08.0</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29.4</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en-AE" sz="700" b="0" i="0" u="none" strike="noStrike" kern="1200">
                          <a:solidFill>
                            <a:schemeClr val="tx2"/>
                          </a:solidFill>
                          <a:effectLst/>
                          <a:latin typeface="+mn-lt"/>
                          <a:ea typeface="+mn-ea"/>
                          <a:cs typeface="+mn-cs"/>
                        </a:rPr>
                        <a:t>0.7</a:t>
                      </a: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0.5</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r>
                        <a:rPr lang="fr-CH" sz="700" b="0" i="0" u="none" strike="noStrike" kern="1200">
                          <a:solidFill>
                            <a:schemeClr val="tx2"/>
                          </a:solidFill>
                          <a:effectLst/>
                          <a:latin typeface="+mn-lt"/>
                          <a:ea typeface="+mn-ea"/>
                          <a:cs typeface="+mn-cs"/>
                        </a:rPr>
                        <a:t>-1.7</a:t>
                      </a:r>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395180"/>
                  </a:ext>
                </a:extLst>
              </a:tr>
              <a:tr h="154008">
                <a:tc>
                  <a:txBody>
                    <a:bodyPr/>
                    <a:lstStyle/>
                    <a:p>
                      <a:pPr algn="l" rtl="0" fontAlgn="ctr"/>
                      <a:r>
                        <a:rPr lang="en-US" sz="600" b="1" i="0" u="none" strike="noStrike" kern="1200">
                          <a:solidFill>
                            <a:schemeClr val="tx2"/>
                          </a:solidFill>
                          <a:effectLst/>
                          <a:latin typeface="Nexa Bold" panose="00000800000000000000" pitchFamily="2" charset="0"/>
                          <a:ea typeface="+mn-ea"/>
                          <a:cs typeface="+mn-cs"/>
                        </a:rPr>
                        <a:t>Amstel Pet 1.8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93728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100420"/>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Amstel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691372"/>
                  </a:ext>
                </a:extLst>
              </a:tr>
              <a:tr h="154008">
                <a:tc>
                  <a:txBody>
                    <a:bodyPr/>
                    <a:lstStyle/>
                    <a:p>
                      <a:pPr algn="l" rtl="0" fontAlgn="ctr"/>
                      <a:r>
                        <a:rPr lang="nn-NO" sz="600" b="1" i="0" u="none" strike="noStrike" kern="1200">
                          <a:solidFill>
                            <a:schemeClr val="tx2"/>
                          </a:solidFill>
                          <a:effectLst/>
                          <a:latin typeface="Nexa Bold" panose="00000800000000000000" pitchFamily="2" charset="0"/>
                          <a:ea typeface="+mn-ea"/>
                          <a:cs typeface="+mn-cs"/>
                        </a:rPr>
                        <a:t>Bucegi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534962"/>
                  </a:ext>
                </a:extLst>
              </a:tr>
              <a:tr h="154008">
                <a:tc>
                  <a:txBody>
                    <a:bodyPr/>
                    <a:lstStyle/>
                    <a:p>
                      <a:pPr algn="l" rtl="0" fontAlgn="ctr"/>
                      <a:endParaRPr lang="nn-NO" sz="600" b="1" i="0" u="none" strike="noStrike" kern="1200">
                        <a:solidFill>
                          <a:schemeClr val="tx2"/>
                        </a:solidFill>
                        <a:effectLst/>
                        <a:latin typeface="Nexa Bold" panose="00000800000000000000" pitchFamily="2" charset="0"/>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951046"/>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Bucegi Sticla Returnabil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96451"/>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Doza 0.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691915"/>
                  </a:ext>
                </a:extLst>
              </a:tr>
              <a:tr h="154008">
                <a:tc>
                  <a:txBody>
                    <a:bodyPr/>
                    <a:lstStyle/>
                    <a:p>
                      <a:pPr algn="l" rtl="0" fontAlgn="ctr"/>
                      <a:r>
                        <a:rPr lang="en-NL" sz="600" b="1" i="0" u="none" strike="noStrike" kern="1200">
                          <a:solidFill>
                            <a:schemeClr val="tx2"/>
                          </a:solidFill>
                          <a:effectLst/>
                          <a:latin typeface="Nexa Bold" panose="00000800000000000000" pitchFamily="2" charset="0"/>
                          <a:ea typeface="+mn-ea"/>
                          <a:cs typeface="+mn-cs"/>
                        </a:rPr>
                        <a:t>Ciuc Premium Sticla 0.66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2548285"/>
                  </a:ext>
                </a:extLst>
              </a:tr>
              <a:tr h="154008">
                <a:tc>
                  <a:txBody>
                    <a:bodyPr/>
                    <a:lstStyle/>
                    <a:p>
                      <a:pPr marL="0" algn="l" defTabSz="685783" rtl="0" eaLnBrk="1" fontAlgn="ctr" latinLnBrk="0" hangingPunct="1"/>
                      <a:r>
                        <a:rPr lang="en-US" sz="600" b="1" i="0" u="none" strike="noStrike" kern="1200">
                          <a:solidFill>
                            <a:schemeClr val="tx2"/>
                          </a:solidFill>
                          <a:effectLst/>
                          <a:latin typeface="Nexa Bold" panose="00000800000000000000" pitchFamily="2" charset="0"/>
                          <a:ea typeface="+mn-ea"/>
                          <a:cs typeface="+mn-cs"/>
                        </a:rPr>
                        <a:t>Golden </a:t>
                      </a:r>
                      <a:r>
                        <a:rPr lang="en-US" sz="600" b="1" i="0" u="none" strike="noStrike" kern="1200" err="1">
                          <a:solidFill>
                            <a:schemeClr val="tx2"/>
                          </a:solidFill>
                          <a:effectLst/>
                          <a:latin typeface="Nexa Bold" panose="00000800000000000000" pitchFamily="2" charset="0"/>
                          <a:ea typeface="+mn-ea"/>
                          <a:cs typeface="+mn-cs"/>
                        </a:rPr>
                        <a:t>Brau</a:t>
                      </a:r>
                      <a:r>
                        <a:rPr lang="en-US" sz="600" b="1" i="0" u="none" strike="noStrike" kern="1200">
                          <a:solidFill>
                            <a:schemeClr val="tx2"/>
                          </a:solidFill>
                          <a:effectLst/>
                          <a:latin typeface="Nexa Bold" panose="00000800000000000000" pitchFamily="2" charset="0"/>
                          <a:ea typeface="+mn-ea"/>
                          <a:cs typeface="+mn-cs"/>
                        </a:rPr>
                        <a:t> Pet 2.5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US"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AE" sz="700" b="0" i="0" u="none" strike="noStrike" kern="1200">
                        <a:solidFill>
                          <a:schemeClr val="tx2"/>
                        </a:solidFill>
                        <a:effectLst/>
                        <a:latin typeface="+mn-lt"/>
                        <a:ea typeface="+mn-ea"/>
                        <a:cs typeface="+mn-cs"/>
                      </a:endParaRPr>
                    </a:p>
                  </a:txBody>
                  <a:tcPr marL="4763" marR="4763" marT="476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732" rtl="0" eaLnBrk="1" fontAlgn="ctr" latinLnBrk="0" hangingPunct="1"/>
                      <a:endParaRPr lang="en-NL" sz="700" b="0" i="0" u="none" strike="noStrike" kern="1200" dirty="0">
                        <a:solidFill>
                          <a:schemeClr val="tx2"/>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217481"/>
                  </a:ext>
                </a:extLst>
              </a:tr>
            </a:tbl>
          </a:graphicData>
        </a:graphic>
      </p:graphicFrame>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0435653C-1939-699E-AE30-F311ED3D5C0A}"/>
                  </a:ext>
                </a:extLst>
              </p:cNvPr>
              <p:cNvSpPr txBox="1"/>
              <p:nvPr/>
            </p:nvSpPr>
            <p:spPr>
              <a:xfrm>
                <a:off x="2223435" y="4626106"/>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𝑆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𝑖𝑧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1013"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5" name="TextBox 14">
                <a:extLst>
                  <a:ext uri="{FF2B5EF4-FFF2-40B4-BE49-F238E27FC236}">
                    <a16:creationId xmlns:a16="http://schemas.microsoft.com/office/drawing/2014/main" id="{0435653C-1939-699E-AE30-F311ED3D5C0A}"/>
                  </a:ext>
                </a:extLst>
              </p:cNvPr>
              <p:cNvSpPr txBox="1">
                <a:spLocks noRot="1" noChangeAspect="1" noMove="1" noResize="1" noEditPoints="1" noAdjustHandles="1" noChangeArrowheads="1" noChangeShapeType="1" noTextEdit="1"/>
              </p:cNvSpPr>
              <p:nvPr/>
            </p:nvSpPr>
            <p:spPr>
              <a:xfrm>
                <a:off x="2223435" y="4626106"/>
                <a:ext cx="3492000" cy="216000"/>
              </a:xfrm>
              <a:prstGeom prst="rect">
                <a:avLst/>
              </a:prstGeom>
              <a:blipFill>
                <a:blip r:embed="rId5"/>
                <a:stretch>
                  <a:fillRect t="-5714" b="-20000"/>
                </a:stretch>
              </a:blipFill>
              <a:ln>
                <a:noFill/>
              </a:ln>
            </p:spPr>
            <p:txBody>
              <a:bodyPr/>
              <a:lstStyle/>
              <a:p>
                <a:r>
                  <a:rPr lang="en-CH">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618D05B6-EB34-41CC-89DF-6DC6A920D559}"/>
                  </a:ext>
                </a:extLst>
              </p:cNvPr>
              <p:cNvSpPr txBox="1"/>
              <p:nvPr/>
            </p:nvSpPr>
            <p:spPr>
              <a:xfrm>
                <a:off x="2223435" y="4866727"/>
                <a:ext cx="3492000" cy="216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𝐶𝐷</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𝐸</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𝐶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𝐷𝑟𝑖𝑣𝑒𝑛</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𝑃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𝐸𝑙𝑎𝑠𝑡𝑖𝑐𝑖𝑡𝑦</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t>=  </m:t>
                      </m:r>
                      <m:f>
                        <m:fPr>
                          <m:ctrlP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mn-ea"/>
                              <a:cs typeface="+mn-cs"/>
                            </a:rPr>
                          </m:ctrlPr>
                        </m:fPr>
                        <m:num>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𝑠h𝑎𝑟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𝑑𝑢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𝑡𝑜</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num>
                        <m:den>
                          <m:r>
                            <a:rPr kumimoji="0" lang="en-CH"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𝑝𝑟𝑖𝑐𝑒</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 </m:t>
                          </m:r>
                          <m:r>
                            <a:rPr kumimoji="0" lang="en-US" sz="700" b="0" i="1" u="none" strike="noStrike" kern="1200" cap="none" spc="0" normalizeH="0" baseline="0" noProof="0" smtClean="0">
                              <a:ln>
                                <a:noFill/>
                              </a:ln>
                              <a:solidFill>
                                <a:srgbClr val="575555"/>
                              </a:solidFill>
                              <a:effectLst/>
                              <a:uLnTx/>
                              <a:uFillTx/>
                              <a:latin typeface="Cambria Math" panose="02040503050406030204" pitchFamily="18" charset="0"/>
                              <a:ea typeface="Cambria Math" panose="02040503050406030204" pitchFamily="18" charset="0"/>
                              <a:cs typeface="+mn-cs"/>
                            </a:rPr>
                            <m:t>𝑐h𝑎𝑛𝑔𝑒</m:t>
                          </m:r>
                        </m:den>
                      </m:f>
                    </m:oMath>
                  </m:oMathPara>
                </a14:m>
                <a:endParaRPr kumimoji="0" lang="en-CH" sz="700" b="0" i="1" u="none" strike="noStrike" kern="1200" cap="none" spc="0" normalizeH="0" baseline="0" noProof="0">
                  <a:ln>
                    <a:noFill/>
                  </a:ln>
                  <a:solidFill>
                    <a:srgbClr val="575555"/>
                  </a:solidFill>
                  <a:effectLst/>
                  <a:uLnTx/>
                  <a:uFillTx/>
                  <a:latin typeface="Nexa Book"/>
                  <a:ea typeface="+mn-ea"/>
                  <a:cs typeface="+mn-cs"/>
                </a:endParaRPr>
              </a:p>
            </p:txBody>
          </p:sp>
        </mc:Choice>
        <mc:Fallback>
          <p:sp>
            <p:nvSpPr>
              <p:cNvPr id="17" name="TextBox 16">
                <a:extLst>
                  <a:ext uri="{FF2B5EF4-FFF2-40B4-BE49-F238E27FC236}">
                    <a16:creationId xmlns:a16="http://schemas.microsoft.com/office/drawing/2014/main" id="{618D05B6-EB34-41CC-89DF-6DC6A920D559}"/>
                  </a:ext>
                </a:extLst>
              </p:cNvPr>
              <p:cNvSpPr txBox="1">
                <a:spLocks noRot="1" noChangeAspect="1" noMove="1" noResize="1" noEditPoints="1" noAdjustHandles="1" noChangeArrowheads="1" noChangeShapeType="1" noTextEdit="1"/>
              </p:cNvSpPr>
              <p:nvPr/>
            </p:nvSpPr>
            <p:spPr>
              <a:xfrm>
                <a:off x="2223435" y="4866727"/>
                <a:ext cx="3492000" cy="216000"/>
              </a:xfrm>
              <a:prstGeom prst="rect">
                <a:avLst/>
              </a:prstGeom>
              <a:blipFill>
                <a:blip r:embed="rId6"/>
                <a:stretch>
                  <a:fillRect l="-873" t="-5556" r="-1047" b="-19444"/>
                </a:stretch>
              </a:blipFill>
              <a:ln>
                <a:noFill/>
              </a:ln>
            </p:spPr>
            <p:txBody>
              <a:bodyPr/>
              <a:lstStyle/>
              <a:p>
                <a:r>
                  <a:rPr lang="en-CH">
                    <a:noFill/>
                  </a:rPr>
                  <a:t> </a:t>
                </a:r>
              </a:p>
            </p:txBody>
          </p:sp>
        </mc:Fallback>
      </mc:AlternateContent>
      <p:sp>
        <p:nvSpPr>
          <p:cNvPr id="3" name="Date Placeholder 2">
            <a:extLst>
              <a:ext uri="{FF2B5EF4-FFF2-40B4-BE49-F238E27FC236}">
                <a16:creationId xmlns:a16="http://schemas.microsoft.com/office/drawing/2014/main" id="{C031E1F3-7E84-886A-BCBF-290FEA70D5A8}"/>
              </a:ext>
            </a:extLst>
          </p:cNvPr>
          <p:cNvSpPr>
            <a:spLocks noGrp="1"/>
          </p:cNvSpPr>
          <p:nvPr>
            <p:ph type="dt" sz="half" idx="14"/>
          </p:nvPr>
        </p:nvSpPr>
        <p:spPr/>
        <p:txBody>
          <a:bodyPr/>
          <a:lstStyle/>
          <a:p>
            <a:fld id="{BB002644-2D98-4E85-9606-3F7EA2621739}" type="datetime1">
              <a:rPr lang="en-US" smtClean="0"/>
              <a:t>7/25/2025</a:t>
            </a:fld>
            <a:endParaRPr lang="en-US"/>
          </a:p>
        </p:txBody>
      </p:sp>
      <p:sp>
        <p:nvSpPr>
          <p:cNvPr id="4" name="Slide Number Placeholder 3">
            <a:extLst>
              <a:ext uri="{FF2B5EF4-FFF2-40B4-BE49-F238E27FC236}">
                <a16:creationId xmlns:a16="http://schemas.microsoft.com/office/drawing/2014/main" id="{8BA7F6E9-39B9-4EF4-DBEF-296E442DC80A}"/>
              </a:ext>
            </a:extLst>
          </p:cNvPr>
          <p:cNvSpPr>
            <a:spLocks noGrp="1"/>
          </p:cNvSpPr>
          <p:nvPr>
            <p:ph type="sldNum" sz="quarter" idx="16"/>
          </p:nvPr>
        </p:nvSpPr>
        <p:spPr/>
        <p:txBody>
          <a:bodyPr/>
          <a:lstStyle/>
          <a:p>
            <a:fld id="{7B1F438D-4EAF-094E-9162-80CF3EF77236}" type="slidenum">
              <a:rPr lang="en-US" smtClean="0"/>
              <a:pPr/>
              <a:t>144</a:t>
            </a:fld>
            <a:endParaRPr lang="en-US"/>
          </a:p>
        </p:txBody>
      </p:sp>
    </p:spTree>
    <p:extLst>
      <p:ext uri="{BB962C8B-B14F-4D97-AF65-F5344CB8AC3E}">
        <p14:creationId xmlns:p14="http://schemas.microsoft.com/office/powerpoint/2010/main" val="754513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5</a:t>
            </a:fld>
            <a:endParaRPr lang="en-US"/>
          </a:p>
        </p:txBody>
      </p:sp>
    </p:spTree>
    <p:extLst>
      <p:ext uri="{BB962C8B-B14F-4D97-AF65-F5344CB8AC3E}">
        <p14:creationId xmlns:p14="http://schemas.microsoft.com/office/powerpoint/2010/main" val="669936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6</a:t>
            </a:fld>
            <a:endParaRPr lang="en-US"/>
          </a:p>
        </p:txBody>
      </p:sp>
    </p:spTree>
    <p:extLst>
      <p:ext uri="{BB962C8B-B14F-4D97-AF65-F5344CB8AC3E}">
        <p14:creationId xmlns:p14="http://schemas.microsoft.com/office/powerpoint/2010/main" val="29893456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7</a:t>
            </a:fld>
            <a:endParaRPr lang="en-US"/>
          </a:p>
        </p:txBody>
      </p:sp>
    </p:spTree>
    <p:extLst>
      <p:ext uri="{BB962C8B-B14F-4D97-AF65-F5344CB8AC3E}">
        <p14:creationId xmlns:p14="http://schemas.microsoft.com/office/powerpoint/2010/main" val="1854206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8</a:t>
            </a:fld>
            <a:endParaRPr lang="en-US"/>
          </a:p>
        </p:txBody>
      </p:sp>
    </p:spTree>
    <p:extLst>
      <p:ext uri="{BB962C8B-B14F-4D97-AF65-F5344CB8AC3E}">
        <p14:creationId xmlns:p14="http://schemas.microsoft.com/office/powerpoint/2010/main" val="11495070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19</a:t>
            </a:fld>
            <a:endParaRPr lang="en-US"/>
          </a:p>
        </p:txBody>
      </p:sp>
    </p:spTree>
    <p:extLst>
      <p:ext uri="{BB962C8B-B14F-4D97-AF65-F5344CB8AC3E}">
        <p14:creationId xmlns:p14="http://schemas.microsoft.com/office/powerpoint/2010/main" val="3508990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36602519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0</a:t>
            </a:fld>
            <a:endParaRPr lang="en-US"/>
          </a:p>
        </p:txBody>
      </p:sp>
    </p:spTree>
    <p:extLst>
      <p:ext uri="{BB962C8B-B14F-4D97-AF65-F5344CB8AC3E}">
        <p14:creationId xmlns:p14="http://schemas.microsoft.com/office/powerpoint/2010/main" val="16964546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21</a:t>
            </a:fld>
            <a:endParaRPr lang="en-US"/>
          </a:p>
        </p:txBody>
      </p:sp>
    </p:spTree>
    <p:extLst>
      <p:ext uri="{BB962C8B-B14F-4D97-AF65-F5344CB8AC3E}">
        <p14:creationId xmlns:p14="http://schemas.microsoft.com/office/powerpoint/2010/main" val="2983134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2</a:t>
            </a:fld>
            <a:endParaRPr lang="en-US"/>
          </a:p>
        </p:txBody>
      </p:sp>
    </p:spTree>
    <p:extLst>
      <p:ext uri="{BB962C8B-B14F-4D97-AF65-F5344CB8AC3E}">
        <p14:creationId xmlns:p14="http://schemas.microsoft.com/office/powerpoint/2010/main" val="38389850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3</a:t>
            </a:fld>
            <a:endParaRPr lang="en-US"/>
          </a:p>
        </p:txBody>
      </p:sp>
    </p:spTree>
    <p:extLst>
      <p:ext uri="{BB962C8B-B14F-4D97-AF65-F5344CB8AC3E}">
        <p14:creationId xmlns:p14="http://schemas.microsoft.com/office/powerpoint/2010/main" val="29683925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4</a:t>
            </a:fld>
            <a:endParaRPr lang="en-US"/>
          </a:p>
        </p:txBody>
      </p:sp>
    </p:spTree>
    <p:extLst>
      <p:ext uri="{BB962C8B-B14F-4D97-AF65-F5344CB8AC3E}">
        <p14:creationId xmlns:p14="http://schemas.microsoft.com/office/powerpoint/2010/main" val="1337526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5</a:t>
            </a:fld>
            <a:endParaRPr lang="en-US"/>
          </a:p>
        </p:txBody>
      </p:sp>
    </p:spTree>
    <p:extLst>
      <p:ext uri="{BB962C8B-B14F-4D97-AF65-F5344CB8AC3E}">
        <p14:creationId xmlns:p14="http://schemas.microsoft.com/office/powerpoint/2010/main" val="3233420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6</a:t>
            </a:fld>
            <a:endParaRPr lang="en-US"/>
          </a:p>
        </p:txBody>
      </p:sp>
    </p:spTree>
    <p:extLst>
      <p:ext uri="{BB962C8B-B14F-4D97-AF65-F5344CB8AC3E}">
        <p14:creationId xmlns:p14="http://schemas.microsoft.com/office/powerpoint/2010/main" val="3519819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7</a:t>
            </a:fld>
            <a:endParaRPr lang="en-US"/>
          </a:p>
        </p:txBody>
      </p:sp>
    </p:spTree>
    <p:extLst>
      <p:ext uri="{BB962C8B-B14F-4D97-AF65-F5344CB8AC3E}">
        <p14:creationId xmlns:p14="http://schemas.microsoft.com/office/powerpoint/2010/main" val="13456103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8</a:t>
            </a:fld>
            <a:endParaRPr lang="en-US"/>
          </a:p>
        </p:txBody>
      </p:sp>
    </p:spTree>
    <p:extLst>
      <p:ext uri="{BB962C8B-B14F-4D97-AF65-F5344CB8AC3E}">
        <p14:creationId xmlns:p14="http://schemas.microsoft.com/office/powerpoint/2010/main" val="1795609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29</a:t>
            </a:fld>
            <a:endParaRPr lang="en-US"/>
          </a:p>
        </p:txBody>
      </p:sp>
    </p:spTree>
    <p:extLst>
      <p:ext uri="{BB962C8B-B14F-4D97-AF65-F5344CB8AC3E}">
        <p14:creationId xmlns:p14="http://schemas.microsoft.com/office/powerpoint/2010/main" val="2105962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7006919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0</a:t>
            </a:fld>
            <a:endParaRPr lang="en-US"/>
          </a:p>
        </p:txBody>
      </p:sp>
    </p:spTree>
    <p:extLst>
      <p:ext uri="{BB962C8B-B14F-4D97-AF65-F5344CB8AC3E}">
        <p14:creationId xmlns:p14="http://schemas.microsoft.com/office/powerpoint/2010/main" val="33366854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1</a:t>
            </a:fld>
            <a:endParaRPr lang="en-US"/>
          </a:p>
        </p:txBody>
      </p:sp>
    </p:spTree>
    <p:extLst>
      <p:ext uri="{BB962C8B-B14F-4D97-AF65-F5344CB8AC3E}">
        <p14:creationId xmlns:p14="http://schemas.microsoft.com/office/powerpoint/2010/main" val="21856119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2</a:t>
            </a:fld>
            <a:endParaRPr lang="en-US"/>
          </a:p>
        </p:txBody>
      </p:sp>
    </p:spTree>
    <p:extLst>
      <p:ext uri="{BB962C8B-B14F-4D97-AF65-F5344CB8AC3E}">
        <p14:creationId xmlns:p14="http://schemas.microsoft.com/office/powerpoint/2010/main" val="35019356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3</a:t>
            </a:fld>
            <a:endParaRPr lang="en-US"/>
          </a:p>
        </p:txBody>
      </p:sp>
    </p:spTree>
    <p:extLst>
      <p:ext uri="{BB962C8B-B14F-4D97-AF65-F5344CB8AC3E}">
        <p14:creationId xmlns:p14="http://schemas.microsoft.com/office/powerpoint/2010/main" val="16876568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4</a:t>
            </a:fld>
            <a:endParaRPr lang="en-US"/>
          </a:p>
        </p:txBody>
      </p:sp>
    </p:spTree>
    <p:extLst>
      <p:ext uri="{BB962C8B-B14F-4D97-AF65-F5344CB8AC3E}">
        <p14:creationId xmlns:p14="http://schemas.microsoft.com/office/powerpoint/2010/main" val="31749375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5</a:t>
            </a:fld>
            <a:endParaRPr lang="en-US"/>
          </a:p>
        </p:txBody>
      </p:sp>
    </p:spTree>
    <p:extLst>
      <p:ext uri="{BB962C8B-B14F-4D97-AF65-F5344CB8AC3E}">
        <p14:creationId xmlns:p14="http://schemas.microsoft.com/office/powerpoint/2010/main" val="17320510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6</a:t>
            </a:fld>
            <a:endParaRPr lang="en-US"/>
          </a:p>
        </p:txBody>
      </p:sp>
    </p:spTree>
    <p:extLst>
      <p:ext uri="{BB962C8B-B14F-4D97-AF65-F5344CB8AC3E}">
        <p14:creationId xmlns:p14="http://schemas.microsoft.com/office/powerpoint/2010/main" val="42174550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7</a:t>
            </a:fld>
            <a:endParaRPr lang="en-US"/>
          </a:p>
        </p:txBody>
      </p:sp>
    </p:spTree>
    <p:extLst>
      <p:ext uri="{BB962C8B-B14F-4D97-AF65-F5344CB8AC3E}">
        <p14:creationId xmlns:p14="http://schemas.microsoft.com/office/powerpoint/2010/main" val="4851608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8</a:t>
            </a:fld>
            <a:endParaRPr lang="en-US"/>
          </a:p>
        </p:txBody>
      </p:sp>
    </p:spTree>
    <p:extLst>
      <p:ext uri="{BB962C8B-B14F-4D97-AF65-F5344CB8AC3E}">
        <p14:creationId xmlns:p14="http://schemas.microsoft.com/office/powerpoint/2010/main" val="671907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39</a:t>
            </a:fld>
            <a:endParaRPr lang="en-US"/>
          </a:p>
        </p:txBody>
      </p:sp>
    </p:spTree>
    <p:extLst>
      <p:ext uri="{BB962C8B-B14F-4D97-AF65-F5344CB8AC3E}">
        <p14:creationId xmlns:p14="http://schemas.microsoft.com/office/powerpoint/2010/main" val="624987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3A62DB2-FD52-E1C9-07D5-B7BBF96173D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ource">
            <a:extLst>
              <a:ext uri="{FF2B5EF4-FFF2-40B4-BE49-F238E27FC236}">
                <a16:creationId xmlns:a16="http://schemas.microsoft.com/office/drawing/2014/main" id="{49A0EAFD-7A4B-D34F-8332-905D5EE3F938}"/>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12" name="Head">
            <a:extLst>
              <a:ext uri="{FF2B5EF4-FFF2-40B4-BE49-F238E27FC236}">
                <a16:creationId xmlns:a16="http://schemas.microsoft.com/office/drawing/2014/main" id="{600EB69F-E381-4CC8-A7D8-489ABD2C2B07}"/>
              </a:ext>
            </a:extLst>
          </p:cNvPr>
          <p:cNvSpPr>
            <a:spLocks noGrp="1"/>
          </p:cNvSpPr>
          <p:nvPr>
            <p:ph type="body" sz="quarter" idx="18"/>
          </p:nvPr>
        </p:nvSpPr>
        <p:spPr>
          <a:xfrm>
            <a:off x="503238" y="774000"/>
            <a:ext cx="8136762" cy="360000"/>
          </a:xfrm>
        </p:spPr>
        <p:txBody>
          <a:bodyPr/>
          <a:lstStyle/>
          <a:p>
            <a:r>
              <a:rPr lang="en-US" dirty="0"/>
              <a:t>Based on price change | by Brand | Panda</a:t>
            </a:r>
          </a:p>
        </p:txBody>
      </p:sp>
      <p:sp>
        <p:nvSpPr>
          <p:cNvPr id="3" name="Title 2">
            <a:extLst>
              <a:ext uri="{FF2B5EF4-FFF2-40B4-BE49-F238E27FC236}">
                <a16:creationId xmlns:a16="http://schemas.microsoft.com/office/drawing/2014/main" id="{99087546-885A-2746-A450-6ADD7CD5B24C}"/>
              </a:ext>
            </a:extLst>
          </p:cNvPr>
          <p:cNvSpPr>
            <a:spLocks noGrp="1"/>
          </p:cNvSpPr>
          <p:nvPr>
            <p:ph type="title"/>
          </p:nvPr>
        </p:nvSpPr>
        <p:spPr>
          <a:xfrm>
            <a:off x="504000" y="-1"/>
            <a:ext cx="8136000" cy="771525"/>
          </a:xfrm>
        </p:spPr>
        <p:txBody>
          <a:bodyPr/>
          <a:lstStyle/>
          <a:p>
            <a:r>
              <a:rPr lang="en-GB" dirty="0">
                <a:highlight>
                  <a:srgbClr val="FFFF00"/>
                </a:highlight>
              </a:rPr>
              <a:t>Brand Elasticity Analysis</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5" name="C1">
            <a:extLst>
              <a:ext uri="{FF2B5EF4-FFF2-40B4-BE49-F238E27FC236}">
                <a16:creationId xmlns:a16="http://schemas.microsoft.com/office/drawing/2014/main" id="{DB46EE52-D3FE-A9A8-CB7A-E6FF00C3FE0F}"/>
              </a:ext>
            </a:extLst>
          </p:cNvPr>
          <p:cNvGraphicFramePr>
            <a:graphicFrameLocks/>
          </p:cNvGraphicFramePr>
          <p:nvPr>
            <p:extLst>
              <p:ext uri="{D42A27DB-BD31-4B8C-83A1-F6EECF244321}">
                <p14:modId xmlns:p14="http://schemas.microsoft.com/office/powerpoint/2010/main" val="4155870252"/>
              </p:ext>
            </p:extLst>
          </p:nvPr>
        </p:nvGraphicFramePr>
        <p:xfrm>
          <a:off x="540544" y="1131888"/>
          <a:ext cx="8099822" cy="361989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id="{6CF4160F-D1E2-AB65-97CA-1117BB236A0A}"/>
              </a:ext>
            </a:extLst>
          </p:cNvPr>
          <p:cNvSpPr/>
          <p:nvPr/>
        </p:nvSpPr>
        <p:spPr>
          <a:xfrm>
            <a:off x="3843446" y="1130497"/>
            <a:ext cx="4797140" cy="157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Low retention and high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9455B3BE-708F-EDE2-00A8-A6EF2396AEE5}"/>
              </a:ext>
            </a:extLst>
          </p:cNvPr>
          <p:cNvSpPr/>
          <p:nvPr/>
        </p:nvSpPr>
        <p:spPr>
          <a:xfrm>
            <a:off x="3835181" y="3437981"/>
            <a:ext cx="4802300" cy="1014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rPr>
              <a:t>High retention and high appeal</a:t>
            </a:r>
            <a:endParaRPr kumimoji="0" lang="en-CH" sz="900" b="1" i="0" u="none" strike="noStrike" kern="1200" cap="none" spc="0" normalizeH="0" baseline="0" noProof="0" dirty="0">
              <a:ln>
                <a:noFill/>
              </a:ln>
              <a:solidFill>
                <a:schemeClr val="accent3"/>
              </a:solidFill>
              <a:effectLst/>
              <a:uLnTx/>
              <a:uFillTx/>
              <a:latin typeface="Nexa Bold"/>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3A8E7FE2-155E-935C-6808-B494415D20A5}"/>
              </a:ext>
            </a:extLst>
          </p:cNvPr>
          <p:cNvSpPr/>
          <p:nvPr/>
        </p:nvSpPr>
        <p:spPr>
          <a:xfrm>
            <a:off x="1274612" y="3427905"/>
            <a:ext cx="2438180" cy="1023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rPr>
              <a:t>High retention and low appeal</a:t>
            </a:r>
            <a:endParaRPr kumimoji="0" lang="en-CH" sz="900" b="1"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3153049-88EE-CB9D-636D-7F7B7F34DCDB}"/>
              </a:ext>
            </a:extLst>
          </p:cNvPr>
          <p:cNvSpPr/>
          <p:nvPr/>
        </p:nvSpPr>
        <p:spPr>
          <a:xfrm>
            <a:off x="1274612" y="1131888"/>
            <a:ext cx="2436345" cy="1590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rPr>
              <a:t>Low retention and low appeal</a:t>
            </a:r>
            <a:endParaRPr kumimoji="0" lang="en-CH" sz="900" b="1" i="0" u="none" strike="noStrike" kern="1200" cap="none" spc="0" normalizeH="0" baseline="0" noProof="0" dirty="0">
              <a:ln>
                <a:noFill/>
              </a:ln>
              <a:solidFill>
                <a:srgbClr val="C00000"/>
              </a:solidFill>
              <a:effectLst/>
              <a:uLnTx/>
              <a:uFillTx/>
              <a:latin typeface="Nexa Bold"/>
              <a:ea typeface="Open Sans" panose="020B0606030504020204" pitchFamily="34" charset="0"/>
              <a:cs typeface="Open Sans" panose="020B0606030504020204" pitchFamily="34" charset="0"/>
            </a:endParaRPr>
          </a:p>
        </p:txBody>
      </p:sp>
      <p:sp>
        <p:nvSpPr>
          <p:cNvPr id="7" name="TextBox X">
            <a:extLst>
              <a:ext uri="{FF2B5EF4-FFF2-40B4-BE49-F238E27FC236}">
                <a16:creationId xmlns:a16="http://schemas.microsoft.com/office/drawing/2014/main" id="{7A1735C9-5987-C9BB-04E3-1910A272F2AB}"/>
              </a:ext>
            </a:extLst>
          </p:cNvPr>
          <p:cNvSpPr txBox="1"/>
          <p:nvPr/>
        </p:nvSpPr>
        <p:spPr>
          <a:xfrm>
            <a:off x="6944613" y="4550057"/>
            <a:ext cx="1698567" cy="2154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down by -10%</a:t>
            </a:r>
          </a:p>
        </p:txBody>
      </p:sp>
      <p:sp>
        <p:nvSpPr>
          <p:cNvPr id="6" name="TextBox Y">
            <a:extLst>
              <a:ext uri="{FF2B5EF4-FFF2-40B4-BE49-F238E27FC236}">
                <a16:creationId xmlns:a16="http://schemas.microsoft.com/office/drawing/2014/main" id="{047C5A97-7E48-E25D-669A-C45496340B4C}"/>
              </a:ext>
            </a:extLst>
          </p:cNvPr>
          <p:cNvSpPr txBox="1"/>
          <p:nvPr/>
        </p:nvSpPr>
        <p:spPr>
          <a:xfrm>
            <a:off x="517720" y="1137015"/>
            <a:ext cx="435454"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chemeClr val="tx2"/>
                </a:solidFill>
                <a:effectLst/>
                <a:uLnTx/>
                <a:uFillTx/>
                <a:latin typeface="Nexa Bold"/>
                <a:ea typeface="+mn-ea"/>
                <a:cs typeface="+mn-cs"/>
              </a:rPr>
              <a:t>Priced up</a:t>
            </a:r>
            <a:r>
              <a:rPr kumimoji="0" lang="en-US" sz="800" b="0" i="0" u="none" strike="noStrike" kern="1200" cap="none" spc="0" normalizeH="0" baseline="0" noProof="0" dirty="0">
                <a:ln>
                  <a:noFill/>
                </a:ln>
                <a:solidFill>
                  <a:schemeClr val="tx2"/>
                </a:solidFill>
                <a:effectLst/>
                <a:uLnTx/>
                <a:uFillTx/>
                <a:latin typeface="Nexa Bold"/>
                <a:ea typeface="+mn-ea"/>
                <a:cs typeface="+mn-cs"/>
              </a:rPr>
              <a:t> </a:t>
            </a:r>
            <a:r>
              <a:rPr kumimoji="0" sz="800" b="0" i="0" u="none" strike="noStrike" kern="1200" cap="none" spc="0" normalizeH="0" baseline="0" noProof="0" dirty="0">
                <a:ln>
                  <a:noFill/>
                </a:ln>
                <a:solidFill>
                  <a:schemeClr val="tx2"/>
                </a:solidFill>
                <a:effectLst/>
                <a:uLnTx/>
                <a:uFillTx/>
                <a:latin typeface="Nexa Bold"/>
                <a:ea typeface="+mn-ea"/>
                <a:cs typeface="+mn-cs"/>
              </a:rPr>
              <a:t>by +10</a:t>
            </a:r>
            <a:r>
              <a:rPr lang="en-US" sz="800" dirty="0">
                <a:solidFill>
                  <a:schemeClr val="tx2"/>
                </a:solidFill>
                <a:latin typeface="Nexa Bold"/>
              </a:rPr>
              <a:t>%</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
        <p:nvSpPr>
          <p:cNvPr id="8" name="Date Placeholder 7">
            <a:extLst>
              <a:ext uri="{FF2B5EF4-FFF2-40B4-BE49-F238E27FC236}">
                <a16:creationId xmlns:a16="http://schemas.microsoft.com/office/drawing/2014/main" id="{6CC3C3E3-7EA8-9C3D-517E-77C1588500D7}"/>
              </a:ext>
            </a:extLst>
          </p:cNvPr>
          <p:cNvSpPr>
            <a:spLocks noGrp="1"/>
          </p:cNvSpPr>
          <p:nvPr>
            <p:ph type="dt" sz="half" idx="14"/>
          </p:nvPr>
        </p:nvSpPr>
        <p:spPr/>
        <p:txBody>
          <a:bodyPr/>
          <a:lstStyle/>
          <a:p>
            <a:fld id="{AD583B17-CA9E-4798-A693-AB6BF9A9B56D}" type="datetime1">
              <a:rPr lang="en-US" smtClean="0"/>
              <a:t>7/25/2025</a:t>
            </a:fld>
            <a:endParaRPr lang="en-US"/>
          </a:p>
        </p:txBody>
      </p:sp>
      <p:sp>
        <p:nvSpPr>
          <p:cNvPr id="9" name="Slide Number Placeholder 8">
            <a:extLst>
              <a:ext uri="{FF2B5EF4-FFF2-40B4-BE49-F238E27FC236}">
                <a16:creationId xmlns:a16="http://schemas.microsoft.com/office/drawing/2014/main" id="{8E663443-FA76-33F2-BF32-1CC0A2AAEDA2}"/>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12990499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0</a:t>
            </a:fld>
            <a:endParaRPr lang="en-US"/>
          </a:p>
        </p:txBody>
      </p:sp>
    </p:spTree>
    <p:extLst>
      <p:ext uri="{BB962C8B-B14F-4D97-AF65-F5344CB8AC3E}">
        <p14:creationId xmlns:p14="http://schemas.microsoft.com/office/powerpoint/2010/main" val="9510638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1</a:t>
            </a:fld>
            <a:endParaRPr lang="en-US"/>
          </a:p>
        </p:txBody>
      </p:sp>
    </p:spTree>
    <p:extLst>
      <p:ext uri="{BB962C8B-B14F-4D97-AF65-F5344CB8AC3E}">
        <p14:creationId xmlns:p14="http://schemas.microsoft.com/office/powerpoint/2010/main" val="1336591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2</a:t>
            </a:fld>
            <a:endParaRPr lang="en-US"/>
          </a:p>
        </p:txBody>
      </p:sp>
    </p:spTree>
    <p:extLst>
      <p:ext uri="{BB962C8B-B14F-4D97-AF65-F5344CB8AC3E}">
        <p14:creationId xmlns:p14="http://schemas.microsoft.com/office/powerpoint/2010/main" val="11488945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3</a:t>
            </a:fld>
            <a:endParaRPr lang="en-US"/>
          </a:p>
        </p:txBody>
      </p:sp>
    </p:spTree>
    <p:extLst>
      <p:ext uri="{BB962C8B-B14F-4D97-AF65-F5344CB8AC3E}">
        <p14:creationId xmlns:p14="http://schemas.microsoft.com/office/powerpoint/2010/main" val="13504990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4</a:t>
            </a:fld>
            <a:endParaRPr lang="en-US"/>
          </a:p>
        </p:txBody>
      </p:sp>
    </p:spTree>
    <p:extLst>
      <p:ext uri="{BB962C8B-B14F-4D97-AF65-F5344CB8AC3E}">
        <p14:creationId xmlns:p14="http://schemas.microsoft.com/office/powerpoint/2010/main" val="10807258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5</a:t>
            </a:fld>
            <a:endParaRPr lang="en-US"/>
          </a:p>
        </p:txBody>
      </p:sp>
    </p:spTree>
    <p:extLst>
      <p:ext uri="{BB962C8B-B14F-4D97-AF65-F5344CB8AC3E}">
        <p14:creationId xmlns:p14="http://schemas.microsoft.com/office/powerpoint/2010/main" val="11448381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6</a:t>
            </a:fld>
            <a:endParaRPr lang="en-US"/>
          </a:p>
        </p:txBody>
      </p:sp>
    </p:spTree>
    <p:extLst>
      <p:ext uri="{BB962C8B-B14F-4D97-AF65-F5344CB8AC3E}">
        <p14:creationId xmlns:p14="http://schemas.microsoft.com/office/powerpoint/2010/main" val="30200165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7</a:t>
            </a:fld>
            <a:endParaRPr lang="en-US"/>
          </a:p>
        </p:txBody>
      </p:sp>
    </p:spTree>
    <p:extLst>
      <p:ext uri="{BB962C8B-B14F-4D97-AF65-F5344CB8AC3E}">
        <p14:creationId xmlns:p14="http://schemas.microsoft.com/office/powerpoint/2010/main" val="38113429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8</a:t>
            </a:fld>
            <a:endParaRPr lang="en-US"/>
          </a:p>
        </p:txBody>
      </p:sp>
    </p:spTree>
    <p:extLst>
      <p:ext uri="{BB962C8B-B14F-4D97-AF65-F5344CB8AC3E}">
        <p14:creationId xmlns:p14="http://schemas.microsoft.com/office/powerpoint/2010/main" val="7143323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49</a:t>
            </a:fld>
            <a:endParaRPr lang="en-US"/>
          </a:p>
        </p:txBody>
      </p:sp>
    </p:spTree>
    <p:extLst>
      <p:ext uri="{BB962C8B-B14F-4D97-AF65-F5344CB8AC3E}">
        <p14:creationId xmlns:p14="http://schemas.microsoft.com/office/powerpoint/2010/main" val="905488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5</a:t>
            </a:fld>
            <a:endParaRPr lang="en-US"/>
          </a:p>
        </p:txBody>
      </p:sp>
    </p:spTree>
    <p:extLst>
      <p:ext uri="{BB962C8B-B14F-4D97-AF65-F5344CB8AC3E}">
        <p14:creationId xmlns:p14="http://schemas.microsoft.com/office/powerpoint/2010/main" val="32062884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0</a:t>
            </a:fld>
            <a:endParaRPr lang="en-US"/>
          </a:p>
        </p:txBody>
      </p:sp>
    </p:spTree>
    <p:extLst>
      <p:ext uri="{BB962C8B-B14F-4D97-AF65-F5344CB8AC3E}">
        <p14:creationId xmlns:p14="http://schemas.microsoft.com/office/powerpoint/2010/main" val="1242453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1</a:t>
            </a:fld>
            <a:endParaRPr lang="en-US"/>
          </a:p>
        </p:txBody>
      </p:sp>
    </p:spTree>
    <p:extLst>
      <p:ext uri="{BB962C8B-B14F-4D97-AF65-F5344CB8AC3E}">
        <p14:creationId xmlns:p14="http://schemas.microsoft.com/office/powerpoint/2010/main" val="15580630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2</a:t>
            </a:fld>
            <a:endParaRPr lang="en-US"/>
          </a:p>
        </p:txBody>
      </p:sp>
    </p:spTree>
    <p:extLst>
      <p:ext uri="{BB962C8B-B14F-4D97-AF65-F5344CB8AC3E}">
        <p14:creationId xmlns:p14="http://schemas.microsoft.com/office/powerpoint/2010/main" val="3008729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3</a:t>
            </a:fld>
            <a:endParaRPr lang="en-US"/>
          </a:p>
        </p:txBody>
      </p:sp>
    </p:spTree>
    <p:extLst>
      <p:ext uri="{BB962C8B-B14F-4D97-AF65-F5344CB8AC3E}">
        <p14:creationId xmlns:p14="http://schemas.microsoft.com/office/powerpoint/2010/main" val="32558899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4</a:t>
            </a:fld>
            <a:endParaRPr lang="en-US"/>
          </a:p>
        </p:txBody>
      </p:sp>
    </p:spTree>
    <p:extLst>
      <p:ext uri="{BB962C8B-B14F-4D97-AF65-F5344CB8AC3E}">
        <p14:creationId xmlns:p14="http://schemas.microsoft.com/office/powerpoint/2010/main" val="25565417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5</a:t>
            </a:fld>
            <a:endParaRPr lang="en-US"/>
          </a:p>
        </p:txBody>
      </p:sp>
    </p:spTree>
    <p:extLst>
      <p:ext uri="{BB962C8B-B14F-4D97-AF65-F5344CB8AC3E}">
        <p14:creationId xmlns:p14="http://schemas.microsoft.com/office/powerpoint/2010/main" val="36649227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6</a:t>
            </a:fld>
            <a:endParaRPr lang="en-US"/>
          </a:p>
        </p:txBody>
      </p:sp>
    </p:spTree>
    <p:extLst>
      <p:ext uri="{BB962C8B-B14F-4D97-AF65-F5344CB8AC3E}">
        <p14:creationId xmlns:p14="http://schemas.microsoft.com/office/powerpoint/2010/main" val="87071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7</a:t>
            </a:fld>
            <a:endParaRPr lang="en-US"/>
          </a:p>
        </p:txBody>
      </p:sp>
    </p:spTree>
    <p:extLst>
      <p:ext uri="{BB962C8B-B14F-4D97-AF65-F5344CB8AC3E}">
        <p14:creationId xmlns:p14="http://schemas.microsoft.com/office/powerpoint/2010/main" val="24977245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8</a:t>
            </a:fld>
            <a:endParaRPr lang="en-US"/>
          </a:p>
        </p:txBody>
      </p:sp>
    </p:spTree>
    <p:extLst>
      <p:ext uri="{BB962C8B-B14F-4D97-AF65-F5344CB8AC3E}">
        <p14:creationId xmlns:p14="http://schemas.microsoft.com/office/powerpoint/2010/main" val="21690029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59</a:t>
            </a:fld>
            <a:endParaRPr lang="en-US"/>
          </a:p>
        </p:txBody>
      </p:sp>
    </p:spTree>
    <p:extLst>
      <p:ext uri="{BB962C8B-B14F-4D97-AF65-F5344CB8AC3E}">
        <p14:creationId xmlns:p14="http://schemas.microsoft.com/office/powerpoint/2010/main" val="1180866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884099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0</a:t>
            </a:fld>
            <a:endParaRPr lang="en-US"/>
          </a:p>
        </p:txBody>
      </p:sp>
    </p:spTree>
    <p:extLst>
      <p:ext uri="{BB962C8B-B14F-4D97-AF65-F5344CB8AC3E}">
        <p14:creationId xmlns:p14="http://schemas.microsoft.com/office/powerpoint/2010/main" val="7583709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1</a:t>
            </a:fld>
            <a:endParaRPr lang="en-US"/>
          </a:p>
        </p:txBody>
      </p:sp>
    </p:spTree>
    <p:extLst>
      <p:ext uri="{BB962C8B-B14F-4D97-AF65-F5344CB8AC3E}">
        <p14:creationId xmlns:p14="http://schemas.microsoft.com/office/powerpoint/2010/main" val="8347708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2</a:t>
            </a:fld>
            <a:endParaRPr lang="en-US"/>
          </a:p>
        </p:txBody>
      </p:sp>
    </p:spTree>
    <p:extLst>
      <p:ext uri="{BB962C8B-B14F-4D97-AF65-F5344CB8AC3E}">
        <p14:creationId xmlns:p14="http://schemas.microsoft.com/office/powerpoint/2010/main" val="23318866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3</a:t>
            </a:fld>
            <a:endParaRPr lang="en-US"/>
          </a:p>
        </p:txBody>
      </p:sp>
    </p:spTree>
    <p:extLst>
      <p:ext uri="{BB962C8B-B14F-4D97-AF65-F5344CB8AC3E}">
        <p14:creationId xmlns:p14="http://schemas.microsoft.com/office/powerpoint/2010/main" val="23305170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4</a:t>
            </a:fld>
            <a:endParaRPr lang="en-US"/>
          </a:p>
        </p:txBody>
      </p:sp>
    </p:spTree>
    <p:extLst>
      <p:ext uri="{BB962C8B-B14F-4D97-AF65-F5344CB8AC3E}">
        <p14:creationId xmlns:p14="http://schemas.microsoft.com/office/powerpoint/2010/main" val="2227789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5</a:t>
            </a:fld>
            <a:endParaRPr lang="en-US"/>
          </a:p>
        </p:txBody>
      </p:sp>
    </p:spTree>
    <p:extLst>
      <p:ext uri="{BB962C8B-B14F-4D97-AF65-F5344CB8AC3E}">
        <p14:creationId xmlns:p14="http://schemas.microsoft.com/office/powerpoint/2010/main" val="34251915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6</a:t>
            </a:fld>
            <a:endParaRPr lang="en-US"/>
          </a:p>
        </p:txBody>
      </p:sp>
    </p:spTree>
    <p:extLst>
      <p:ext uri="{BB962C8B-B14F-4D97-AF65-F5344CB8AC3E}">
        <p14:creationId xmlns:p14="http://schemas.microsoft.com/office/powerpoint/2010/main" val="3075076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7</a:t>
            </a:fld>
            <a:endParaRPr lang="en-US"/>
          </a:p>
        </p:txBody>
      </p:sp>
    </p:spTree>
    <p:extLst>
      <p:ext uri="{BB962C8B-B14F-4D97-AF65-F5344CB8AC3E}">
        <p14:creationId xmlns:p14="http://schemas.microsoft.com/office/powerpoint/2010/main" val="6835634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8</a:t>
            </a:fld>
            <a:endParaRPr lang="en-US"/>
          </a:p>
        </p:txBody>
      </p:sp>
    </p:spTree>
    <p:extLst>
      <p:ext uri="{BB962C8B-B14F-4D97-AF65-F5344CB8AC3E}">
        <p14:creationId xmlns:p14="http://schemas.microsoft.com/office/powerpoint/2010/main" val="42100135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3295150694"/>
              </p:ext>
            </p:extLst>
          </p:nvPr>
        </p:nvGraphicFramePr>
        <p:xfrm>
          <a:off x="535405" y="1133206"/>
          <a:ext cx="3996001" cy="3599134"/>
        </p:xfrm>
        <a:graphic>
          <a:graphicData uri="http://schemas.openxmlformats.org/drawingml/2006/table">
            <a:tbl>
              <a:tblPr firstRow="1" bandRow="1">
                <a:tableStyleId>{2D5ABB26-0587-4C30-8999-92F81FD0307C}</a:tableStyleId>
              </a:tblPr>
              <a:tblGrid>
                <a:gridCol w="885081">
                  <a:extLst>
                    <a:ext uri="{9D8B030D-6E8A-4147-A177-3AD203B41FA5}">
                      <a16:colId xmlns:a16="http://schemas.microsoft.com/office/drawing/2014/main" val="2188046369"/>
                    </a:ext>
                  </a:extLst>
                </a:gridCol>
                <a:gridCol w="1138654">
                  <a:extLst>
                    <a:ext uri="{9D8B030D-6E8A-4147-A177-3AD203B41FA5}">
                      <a16:colId xmlns:a16="http://schemas.microsoft.com/office/drawing/2014/main" val="2235849951"/>
                    </a:ext>
                  </a:extLst>
                </a:gridCol>
                <a:gridCol w="1972266">
                  <a:extLst>
                    <a:ext uri="{9D8B030D-6E8A-4147-A177-3AD203B41FA5}">
                      <a16:colId xmlns:a16="http://schemas.microsoft.com/office/drawing/2014/main" val="233123412"/>
                    </a:ext>
                  </a:extLst>
                </a:gridCol>
              </a:tblGrid>
              <a:tr h="414378">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dirty="0">
                          <a:solidFill>
                            <a:srgbClr val="575555"/>
                          </a:solidFill>
                          <a:latin typeface="Nexa Bold"/>
                        </a:rPr>
                        <a:t>  </a:t>
                      </a:r>
                      <a:endParaRPr lang="en-CH" sz="900" dirty="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654">
                <a:tc>
                  <a:txBody>
                    <a:bodyPr/>
                    <a:lstStyle/>
                    <a:p>
                      <a:pPr algn="ctr"/>
                      <a:r>
                        <a:rPr sz="800" b="0">
                          <a:solidFill>
                            <a:srgbClr val="575555"/>
                          </a:solidFill>
                          <a:latin typeface="Nexa Book"/>
                        </a:rPr>
                        <a:t>1.3</a:t>
                      </a:r>
                      <a:endParaRPr lang="en-AE"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Bar 50g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3</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4.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ème 12.76g (0.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7</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6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96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Galaxy Hazelnut Chocolate 36g (2.8%)</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75097782"/>
              </p:ext>
            </p:extLst>
          </p:nvPr>
        </p:nvGraphicFramePr>
        <p:xfrm>
          <a:off x="4645532" y="1133206"/>
          <a:ext cx="3994468" cy="3599132"/>
        </p:xfrm>
        <a:graphic>
          <a:graphicData uri="http://schemas.openxmlformats.org/drawingml/2006/table">
            <a:tbl>
              <a:tblPr firstRow="1" bandRow="1">
                <a:tableStyleId>{2D5ABB26-0587-4C30-8999-92F81FD0307C}</a:tableStyleId>
              </a:tblPr>
              <a:tblGrid>
                <a:gridCol w="1970425">
                  <a:extLst>
                    <a:ext uri="{9D8B030D-6E8A-4147-A177-3AD203B41FA5}">
                      <a16:colId xmlns:a16="http://schemas.microsoft.com/office/drawing/2014/main" val="1447071671"/>
                    </a:ext>
                  </a:extLst>
                </a:gridCol>
                <a:gridCol w="1139362">
                  <a:extLst>
                    <a:ext uri="{9D8B030D-6E8A-4147-A177-3AD203B41FA5}">
                      <a16:colId xmlns:a16="http://schemas.microsoft.com/office/drawing/2014/main" val="2737317522"/>
                    </a:ext>
                  </a:extLst>
                </a:gridCol>
                <a:gridCol w="884681">
                  <a:extLst>
                    <a:ext uri="{9D8B030D-6E8A-4147-A177-3AD203B41FA5}">
                      <a16:colId xmlns:a16="http://schemas.microsoft.com/office/drawing/2014/main" val="2188046369"/>
                    </a:ext>
                  </a:extLst>
                </a:gridCol>
              </a:tblGrid>
              <a:tr h="414604">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Milk&amp;Hazelnut 43g (9.8%)</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2</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Chocolate 37g (4.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17.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Snickers Bar 50g (6.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Bar 57g (4.0%)</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Bueno White 39g (2.1%)</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Hazelnut Chocolate 36g (2.8%)</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9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Peanut Butter Cups 46g (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Twix Bar 50g (3.5%)</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8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Chocolate Bar 50g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1.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Sourcing Analysis | Hershey's Choco Tubes Cookies N' Creme 18g (0.1%)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Product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3099526698"/>
              </p:ext>
            </p:extLst>
          </p:nvPr>
        </p:nvGraphicFramePr>
        <p:xfrm>
          <a:off x="1428144" y="1537064"/>
          <a:ext cx="1127732" cy="3208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3580411147"/>
              </p:ext>
            </p:extLst>
          </p:nvPr>
        </p:nvGraphicFramePr>
        <p:xfrm>
          <a:off x="6614052" y="1531629"/>
          <a:ext cx="1147040" cy="3214425"/>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66">
            <a:extLst>
              <a:ext uri="{FF2B5EF4-FFF2-40B4-BE49-F238E27FC236}">
                <a16:creationId xmlns:a16="http://schemas.microsoft.com/office/drawing/2014/main" id="{F36BA9CD-EEDB-321A-E685-A07678140DC7}"/>
              </a:ext>
            </a:extLst>
          </p:cNvPr>
          <p:cNvSpPr>
            <a:spLocks/>
          </p:cNvSpPr>
          <p:nvPr/>
        </p:nvSpPr>
        <p:spPr bwMode="auto">
          <a:xfrm>
            <a:off x="6747218" y="2490545"/>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65"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9538B1C4-F0F1-FB16-69FD-79598307EDB6}"/>
              </a:ext>
            </a:extLst>
          </p:cNvPr>
          <p:cNvSpPr>
            <a:spLocks noGrp="1"/>
          </p:cNvSpPr>
          <p:nvPr>
            <p:ph type="dt" sz="half" idx="14"/>
          </p:nvPr>
        </p:nvSpPr>
        <p:spPr/>
        <p:txBody>
          <a:bodyPr/>
          <a:lstStyle/>
          <a:p>
            <a:fld id="{1D008078-2C21-4DCA-B855-87E98C20A404}" type="datetime1">
              <a:rPr lang="en-US" smtClean="0"/>
              <a:t>7/25/2025</a:t>
            </a:fld>
            <a:endParaRPr lang="en-US"/>
          </a:p>
        </p:txBody>
      </p:sp>
      <p:sp>
        <p:nvSpPr>
          <p:cNvPr id="3" name="Slide Number Placeholder 2">
            <a:extLst>
              <a:ext uri="{FF2B5EF4-FFF2-40B4-BE49-F238E27FC236}">
                <a16:creationId xmlns:a16="http://schemas.microsoft.com/office/drawing/2014/main" id="{278978D0-01BB-26DE-AC20-B1F8606E21F3}"/>
              </a:ext>
            </a:extLst>
          </p:cNvPr>
          <p:cNvSpPr>
            <a:spLocks noGrp="1"/>
          </p:cNvSpPr>
          <p:nvPr>
            <p:ph type="sldNum" sz="quarter" idx="16"/>
          </p:nvPr>
        </p:nvSpPr>
        <p:spPr/>
        <p:txBody>
          <a:bodyPr/>
          <a:lstStyle/>
          <a:p>
            <a:fld id="{7B1F438D-4EAF-094E-9162-80CF3EF77236}" type="slidenum">
              <a:rPr lang="en-US" smtClean="0"/>
              <a:pPr/>
              <a:t>69</a:t>
            </a:fld>
            <a:endParaRPr lang="en-US"/>
          </a:p>
        </p:txBody>
      </p:sp>
    </p:spTree>
    <p:extLst>
      <p:ext uri="{BB962C8B-B14F-4D97-AF65-F5344CB8AC3E}">
        <p14:creationId xmlns:p14="http://schemas.microsoft.com/office/powerpoint/2010/main" val="397098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195445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5036775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357725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2823356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8082969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6437073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711298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98865997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0274289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04106054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7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04428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10194937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17891426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0025377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2</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4864058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3</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44113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4</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8305994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5</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32854319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6</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1237189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7</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3400734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8</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1952816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89</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4091526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1">
            <a:extLst>
              <a:ext uri="{FF2B5EF4-FFF2-40B4-BE49-F238E27FC236}">
                <a16:creationId xmlns:a16="http://schemas.microsoft.com/office/drawing/2014/main" id="{9FF16C3E-AC97-F7CA-525B-F4CC0578FF0C}"/>
              </a:ext>
            </a:extLst>
          </p:cNvPr>
          <p:cNvGraphicFramePr>
            <a:graphicFrameLocks noGrp="1"/>
          </p:cNvGraphicFramePr>
          <p:nvPr>
            <p:extLst>
              <p:ext uri="{D42A27DB-BD31-4B8C-83A1-F6EECF244321}">
                <p14:modId xmlns:p14="http://schemas.microsoft.com/office/powerpoint/2010/main" val="1313100386"/>
              </p:ext>
            </p:extLst>
          </p:nvPr>
        </p:nvGraphicFramePr>
        <p:xfrm>
          <a:off x="537316" y="1146130"/>
          <a:ext cx="4014351" cy="3587977"/>
        </p:xfrm>
        <a:graphic>
          <a:graphicData uri="http://schemas.openxmlformats.org/drawingml/2006/table">
            <a:tbl>
              <a:tblPr firstRow="1" bandRow="1">
                <a:tableStyleId>{2D5ABB26-0587-4C30-8999-92F81FD0307C}</a:tableStyleId>
              </a:tblPr>
              <a:tblGrid>
                <a:gridCol w="889145">
                  <a:extLst>
                    <a:ext uri="{9D8B030D-6E8A-4147-A177-3AD203B41FA5}">
                      <a16:colId xmlns:a16="http://schemas.microsoft.com/office/drawing/2014/main" val="2188046369"/>
                    </a:ext>
                  </a:extLst>
                </a:gridCol>
                <a:gridCol w="1143883">
                  <a:extLst>
                    <a:ext uri="{9D8B030D-6E8A-4147-A177-3AD203B41FA5}">
                      <a16:colId xmlns:a16="http://schemas.microsoft.com/office/drawing/2014/main" val="2235849951"/>
                    </a:ext>
                  </a:extLst>
                </a:gridCol>
                <a:gridCol w="1981323">
                  <a:extLst>
                    <a:ext uri="{9D8B030D-6E8A-4147-A177-3AD203B41FA5}">
                      <a16:colId xmlns:a16="http://schemas.microsoft.com/office/drawing/2014/main" val="233123412"/>
                    </a:ext>
                  </a:extLst>
                </a:gridCol>
              </a:tblGrid>
              <a:tr h="413997">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lang="en-CH" sz="900" b="1" i="0" baseline="0">
                          <a:solidFill>
                            <a:schemeClr val="tx2"/>
                          </a:solidFill>
                          <a:effectLst/>
                          <a:latin typeface="Nexa Bold" panose="00000800000000000000" pitchFamily="2" charset="0"/>
                        </a:rPr>
                        <a:t>Sourcing vs. Fair Share</a:t>
                      </a:r>
                      <a:endParaRPr lang="en-CH" sz="900" b="1" i="0">
                        <a:solidFill>
                          <a:schemeClr val="tx2"/>
                        </a:solidFill>
                        <a:effectLst/>
                        <a:latin typeface="Nexa Bold" panose="00000800000000000000" pitchFamily="2" charset="0"/>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  </a:t>
                      </a:r>
                      <a:endParaRPr lang="en-CH" sz="90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398">
                <a:tc>
                  <a:txBody>
                    <a:bodyPr/>
                    <a:lstStyle/>
                    <a:p>
                      <a:pPr algn="ctr"/>
                      <a:r>
                        <a:rPr sz="800" b="0" dirty="0">
                          <a:solidFill>
                            <a:srgbClr val="575555"/>
                          </a:solidFill>
                          <a:latin typeface="Nexa Book"/>
                        </a:rPr>
                        <a:t>1.3</a:t>
                      </a:r>
                      <a:endParaRPr lang="en-AE" sz="900" dirty="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CH" sz="900">
                        <a:solidFill>
                          <a:schemeClr val="tx2"/>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6</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2.4</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ok"/>
                        </a:rPr>
                        <a:t>0.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1.5</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Bounty (5.6%)</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9</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Cadbury (3.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3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M&amp;M's (2.9%)</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graphicFrame>
        <p:nvGraphicFramePr>
          <p:cNvPr id="17" name="T2">
            <a:extLst>
              <a:ext uri="{FF2B5EF4-FFF2-40B4-BE49-F238E27FC236}">
                <a16:creationId xmlns:a16="http://schemas.microsoft.com/office/drawing/2014/main" id="{B7A19684-5E8A-5F99-5C29-527671FED144}"/>
              </a:ext>
            </a:extLst>
          </p:cNvPr>
          <p:cNvGraphicFramePr>
            <a:graphicFrameLocks noGrp="1"/>
          </p:cNvGraphicFramePr>
          <p:nvPr>
            <p:extLst>
              <p:ext uri="{D42A27DB-BD31-4B8C-83A1-F6EECF244321}">
                <p14:modId xmlns:p14="http://schemas.microsoft.com/office/powerpoint/2010/main" val="3079306857"/>
              </p:ext>
            </p:extLst>
          </p:nvPr>
        </p:nvGraphicFramePr>
        <p:xfrm>
          <a:off x="4639070" y="1146130"/>
          <a:ext cx="4023000" cy="3586203"/>
        </p:xfrm>
        <a:graphic>
          <a:graphicData uri="http://schemas.openxmlformats.org/drawingml/2006/table">
            <a:tbl>
              <a:tblPr firstRow="1" bandRow="1">
                <a:tableStyleId>{2D5ABB26-0587-4C30-8999-92F81FD0307C}</a:tableStyleId>
              </a:tblPr>
              <a:tblGrid>
                <a:gridCol w="1984500">
                  <a:extLst>
                    <a:ext uri="{9D8B030D-6E8A-4147-A177-3AD203B41FA5}">
                      <a16:colId xmlns:a16="http://schemas.microsoft.com/office/drawing/2014/main" val="1447071671"/>
                    </a:ext>
                  </a:extLst>
                </a:gridCol>
                <a:gridCol w="1147500">
                  <a:extLst>
                    <a:ext uri="{9D8B030D-6E8A-4147-A177-3AD203B41FA5}">
                      <a16:colId xmlns:a16="http://schemas.microsoft.com/office/drawing/2014/main" val="2737317522"/>
                    </a:ext>
                  </a:extLst>
                </a:gridCol>
                <a:gridCol w="891000">
                  <a:extLst>
                    <a:ext uri="{9D8B030D-6E8A-4147-A177-3AD203B41FA5}">
                      <a16:colId xmlns:a16="http://schemas.microsoft.com/office/drawing/2014/main" val="2188046369"/>
                    </a:ext>
                  </a:extLst>
                </a:gridCol>
              </a:tblGrid>
              <a:tr h="413793">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endParaRPr lang="en-CH" sz="900" b="1" i="0">
                        <a:solidFill>
                          <a:schemeClr val="tx2"/>
                        </a:solidFill>
                        <a:effectLst/>
                        <a:latin typeface="+mj-lt"/>
                      </a:endParaRPr>
                    </a:p>
                  </a:txBody>
                  <a:tcPr marL="68580" marR="68580" marT="54000" marB="34290">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400" b="0" i="0" u="none" strike="noStrike" kern="1200" baseline="0">
                          <a:solidFill>
                            <a:srgbClr val="00A097"/>
                          </a:solidFill>
                          <a:latin typeface="+mj-lt"/>
                          <a:ea typeface="Open Sans" panose="020B0606030504020204" pitchFamily="34" charset="0"/>
                          <a:cs typeface="Open Sans" panose="020B0606030504020204" pitchFamily="34" charset="0"/>
                        </a:defRPr>
                      </a:pPr>
                      <a:r>
                        <a:rPr sz="900" b="1" dirty="0">
                          <a:solidFill>
                            <a:srgbClr val="575555"/>
                          </a:solidFill>
                          <a:latin typeface="Nexa Bold"/>
                        </a:rPr>
                        <a:t>Pricing (+1</a:t>
                      </a:r>
                      <a:r>
                        <a:rPr lang="en-US" sz="900" b="1" dirty="0">
                          <a:solidFill>
                            <a:srgbClr val="575555"/>
                          </a:solidFill>
                          <a:latin typeface="Nexa Bold"/>
                        </a:rPr>
                        <a:t>5</a:t>
                      </a:r>
                      <a:r>
                        <a:rPr sz="900" b="1" dirty="0">
                          <a:solidFill>
                            <a:srgbClr val="575555"/>
                          </a:solidFill>
                          <a:latin typeface="Nexa Bold"/>
                        </a:rPr>
                        <a:t>%)</a:t>
                      </a:r>
                    </a:p>
                  </a:txBody>
                  <a:tcPr marL="68580" marR="68580" marT="54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defRPr sz="1600" b="0" i="0" u="none" strike="noStrike" kern="1200" spc="0" baseline="0">
                          <a:solidFill>
                            <a:srgbClr val="575555"/>
                          </a:solidFill>
                          <a:latin typeface="Open Sans" panose="020B0606030504020204" pitchFamily="34" charset="0"/>
                          <a:ea typeface="Open Sans" panose="020B0606030504020204" pitchFamily="34" charset="0"/>
                          <a:cs typeface="Open Sans" panose="020B0606030504020204" pitchFamily="34" charset="0"/>
                        </a:defRPr>
                      </a:pPr>
                      <a:r>
                        <a:rPr sz="900" b="1">
                          <a:solidFill>
                            <a:srgbClr val="575555"/>
                          </a:solidFill>
                          <a:latin typeface="Nexa Bold"/>
                        </a:rPr>
                        <a:t>Sourcing vs. Fair Share</a:t>
                      </a:r>
                      <a:endParaRPr lang="en-CH" sz="900" b="1" i="0">
                        <a:solidFill>
                          <a:schemeClr val="tx2"/>
                        </a:solidFill>
                        <a:effectLst/>
                        <a:latin typeface="Nexa Bold" panose="00000800000000000000" pitchFamily="2" charset="0"/>
                      </a:endParaRPr>
                    </a:p>
                  </a:txBody>
                  <a:tcPr marL="68580" marR="68580" marT="54000" marB="34290">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228026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nder (16.4%)</a:t>
                      </a: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772985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alaxy (21.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7</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8874053"/>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ltesers (6.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6</a:t>
                      </a:r>
                      <a:endParaRPr kumimoji="0" lang="en-AE" sz="9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522207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Tiffany (4.5%)</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a:solidFill>
                            <a:srgbClr val="575555"/>
                          </a:solidFill>
                          <a:latin typeface="Nexa Bold"/>
                        </a:rPr>
                        <a:t>2.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933251"/>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Snickers  (9.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1993252"/>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Kit Kat  (5.4%)</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0</a:t>
                      </a:r>
                      <a:endParaRPr kumimoji="0" lang="en-AE" sz="9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88461669"/>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Reeses (3.3%)</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4</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47565195"/>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Bounty (5.6%)</a:t>
                      </a:r>
                      <a:endParaRPr kumimoji="0" lang="en-CH" sz="800" b="0" i="0" u="none" strike="noStrike" kern="1200" cap="none" spc="0" normalizeH="0" baseline="0" noProof="0" dirty="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0.8</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2422344"/>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M&amp;M's (2.9%)</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ok"/>
                        </a:rPr>
                        <a:t>1.1</a:t>
                      </a:r>
                      <a:endParaRPr kumimoji="0" lang="en-AE" sz="900" b="0" i="0" u="none" strike="noStrike" kern="1200" cap="none" spc="0" normalizeH="0" baseline="0" noProof="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52635117"/>
                  </a:ext>
                </a:extLst>
              </a:tr>
              <a:tr h="3172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Godiva  (1.7%)</a:t>
                      </a:r>
                      <a:endParaRPr kumimoji="0" lang="en-CH" sz="800" b="0" i="0" u="none" strike="noStrike" kern="1200" cap="none" spc="0" normalizeH="0" baseline="0" noProof="0">
                        <a:ln>
                          <a:noFill/>
                        </a:ln>
                        <a:solidFill>
                          <a:srgbClr val="575555"/>
                        </a:solidFill>
                        <a:effectLst/>
                        <a:uLnTx/>
                        <a:uFillTx/>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900" b="0" i="0" u="none" strike="noStrike" kern="1200" cap="none" spc="0" normalizeH="0" baseline="0" noProof="0">
                        <a:ln>
                          <a:noFill/>
                        </a:ln>
                        <a:solidFill>
                          <a:srgbClr val="575555"/>
                        </a:solidFill>
                        <a:effectLst/>
                        <a:uLnTx/>
                        <a:uFillTx/>
                        <a:latin typeface="+mn-lt"/>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sz="800" b="1" dirty="0">
                          <a:solidFill>
                            <a:srgbClr val="575555"/>
                          </a:solidFill>
                          <a:latin typeface="Nexa Bold"/>
                        </a:rPr>
                        <a:t>1.8</a:t>
                      </a:r>
                      <a:endParaRPr kumimoji="0" lang="en-AE" sz="900" b="0" i="0" u="none" strike="noStrike" kern="1200" cap="none" spc="0" normalizeH="0" baseline="0" noProof="0" dirty="0">
                        <a:ln>
                          <a:noFill/>
                        </a:ln>
                        <a:solidFill>
                          <a:srgbClr val="575555"/>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6048712"/>
                  </a:ext>
                </a:extLst>
              </a:tr>
            </a:tbl>
          </a:graphicData>
        </a:graphic>
      </p:graphicFrame>
      <p:sp>
        <p:nvSpPr>
          <p:cNvPr id="5" name="Footer Placeholder 4">
            <a:extLst>
              <a:ext uri="{FF2B5EF4-FFF2-40B4-BE49-F238E27FC236}">
                <a16:creationId xmlns:a16="http://schemas.microsoft.com/office/drawing/2014/main" id="{83FA43B4-6B0E-8113-EB52-42F5C8DBF995}"/>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F389AA9A-3110-449C-B348-6A5A0CB665EC}"/>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Head">
            <a:extLst>
              <a:ext uri="{FF2B5EF4-FFF2-40B4-BE49-F238E27FC236}">
                <a16:creationId xmlns:a16="http://schemas.microsoft.com/office/drawing/2014/main" id="{C932058A-18F1-4AC5-8916-9259B77BD01E}"/>
              </a:ext>
            </a:extLst>
          </p:cNvPr>
          <p:cNvSpPr>
            <a:spLocks noGrp="1"/>
          </p:cNvSpPr>
          <p:nvPr>
            <p:ph type="body" sz="quarter" idx="18"/>
          </p:nvPr>
        </p:nvSpPr>
        <p:spPr>
          <a:xfrm>
            <a:off x="503238" y="774000"/>
            <a:ext cx="8136762" cy="360000"/>
          </a:xfrm>
        </p:spPr>
        <p:txBody>
          <a:bodyPr/>
          <a:lstStyle/>
          <a:p>
            <a:r>
              <a:rPr lang="en-US" dirty="0"/>
              <a:t>Sourcing Analysis | Hershey's (2.8%) | Up &amp; Down Pricing | Panda | Assumes no other are changing prices</a:t>
            </a:r>
          </a:p>
        </p:txBody>
      </p:sp>
      <p:sp>
        <p:nvSpPr>
          <p:cNvPr id="4" name="Title1"/>
          <p:cNvSpPr>
            <a:spLocks noGrp="1"/>
          </p:cNvSpPr>
          <p:nvPr>
            <p:ph type="title"/>
          </p:nvPr>
        </p:nvSpPr>
        <p:spPr>
          <a:xfrm>
            <a:off x="504000" y="-1"/>
            <a:ext cx="8136000" cy="771525"/>
          </a:xfrm>
        </p:spPr>
        <p:txBody>
          <a:bodyPr/>
          <a:lstStyle/>
          <a:p>
            <a:r>
              <a:rPr lang="en-US" dirty="0">
                <a:highlight>
                  <a:srgbClr val="FFFF00"/>
                </a:highlight>
              </a:rPr>
              <a:t>Brand Sourcing Analysis </a:t>
            </a:r>
            <a:r>
              <a:rPr lang="en-US" dirty="0">
                <a:solidFill>
                  <a:schemeClr val="bg2">
                    <a:lumMod val="90000"/>
                  </a:schemeClr>
                </a:solidFill>
                <a:highlight>
                  <a:srgbClr val="FFFF00"/>
                </a:highlight>
              </a:rPr>
              <a:t>(Replace with SO WHAT)</a:t>
            </a:r>
          </a:p>
        </p:txBody>
      </p:sp>
      <p:graphicFrame>
        <p:nvGraphicFramePr>
          <p:cNvPr id="19" name="T1-C1">
            <a:extLst>
              <a:ext uri="{FF2B5EF4-FFF2-40B4-BE49-F238E27FC236}">
                <a16:creationId xmlns:a16="http://schemas.microsoft.com/office/drawing/2014/main" id="{EB7D2B75-FD9D-9FC2-EFE6-73F7CD7EAED5}"/>
              </a:ext>
            </a:extLst>
          </p:cNvPr>
          <p:cNvGraphicFramePr>
            <a:graphicFrameLocks noGrp="1"/>
          </p:cNvGraphicFramePr>
          <p:nvPr>
            <p:extLst>
              <p:ext uri="{D42A27DB-BD31-4B8C-83A1-F6EECF244321}">
                <p14:modId xmlns:p14="http://schemas.microsoft.com/office/powerpoint/2010/main" val="519166276"/>
              </p:ext>
            </p:extLst>
          </p:nvPr>
        </p:nvGraphicFramePr>
        <p:xfrm>
          <a:off x="1434606" y="1549987"/>
          <a:ext cx="1121270" cy="3182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2-C1">
            <a:extLst>
              <a:ext uri="{FF2B5EF4-FFF2-40B4-BE49-F238E27FC236}">
                <a16:creationId xmlns:a16="http://schemas.microsoft.com/office/drawing/2014/main" id="{C9891986-CEF2-FDF9-BEAD-DC4583FB9300}"/>
              </a:ext>
            </a:extLst>
          </p:cNvPr>
          <p:cNvGraphicFramePr>
            <a:graphicFrameLocks noGrp="1"/>
          </p:cNvGraphicFramePr>
          <p:nvPr>
            <p:extLst>
              <p:ext uri="{D42A27DB-BD31-4B8C-83A1-F6EECF244321}">
                <p14:modId xmlns:p14="http://schemas.microsoft.com/office/powerpoint/2010/main" val="2215554412"/>
              </p:ext>
            </p:extLst>
          </p:nvPr>
        </p:nvGraphicFramePr>
        <p:xfrm>
          <a:off x="6643132" y="1544552"/>
          <a:ext cx="1130884" cy="3187781"/>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568B5EAC-5C69-2DDE-EBB4-F8FF92B59668}"/>
              </a:ext>
            </a:extLst>
          </p:cNvPr>
          <p:cNvSpPr>
            <a:spLocks noGrp="1"/>
          </p:cNvSpPr>
          <p:nvPr>
            <p:ph type="dt" sz="half" idx="14"/>
          </p:nvPr>
        </p:nvSpPr>
        <p:spPr/>
        <p:txBody>
          <a:bodyPr/>
          <a:lstStyle/>
          <a:p>
            <a:fld id="{53486936-A927-4261-B0C8-39E31EFDDAC0}" type="datetime1">
              <a:rPr lang="en-US" smtClean="0"/>
              <a:t>7/25/2025</a:t>
            </a:fld>
            <a:endParaRPr lang="en-US"/>
          </a:p>
        </p:txBody>
      </p:sp>
      <p:sp>
        <p:nvSpPr>
          <p:cNvPr id="3" name="Slide Number Placeholder 2">
            <a:extLst>
              <a:ext uri="{FF2B5EF4-FFF2-40B4-BE49-F238E27FC236}">
                <a16:creationId xmlns:a16="http://schemas.microsoft.com/office/drawing/2014/main" id="{627D86E6-000B-C653-AE9D-38957F668F97}"/>
              </a:ext>
            </a:extLst>
          </p:cNvPr>
          <p:cNvSpPr>
            <a:spLocks noGrp="1"/>
          </p:cNvSpPr>
          <p:nvPr>
            <p:ph type="sldNum" sz="quarter" idx="16"/>
          </p:nvPr>
        </p:nvSpPr>
        <p:spPr/>
        <p:txBody>
          <a:bodyPr/>
          <a:lstStyle/>
          <a:p>
            <a:fld id="{7B1F438D-4EAF-094E-9162-80CF3EF77236}" type="slidenum">
              <a:rPr lang="en-US" smtClean="0"/>
              <a:pPr/>
              <a:t>9</a:t>
            </a:fld>
            <a:endParaRPr lang="en-US"/>
          </a:p>
        </p:txBody>
      </p:sp>
    </p:spTree>
    <p:extLst>
      <p:ext uri="{BB962C8B-B14F-4D97-AF65-F5344CB8AC3E}">
        <p14:creationId xmlns:p14="http://schemas.microsoft.com/office/powerpoint/2010/main" val="30514299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0</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2295099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B0A9C6-8C47-11EA-42BC-A3AA0AD18898}"/>
              </a:ext>
            </a:extLst>
          </p:cNvPr>
          <p:cNvSpPr>
            <a:spLocks noGrp="1"/>
          </p:cNvSpPr>
          <p:nvPr>
            <p:ph type="ftr" sz="quarter" idx="15"/>
          </p:nvPr>
        </p:nvSpPr>
        <p:spPr>
          <a:xfrm>
            <a:off x="546969" y="4970700"/>
            <a:ext cx="6451742" cy="174151"/>
          </a:xfrm>
        </p:spPr>
        <p:txBody>
          <a:bodyPr/>
          <a:lstStyle/>
          <a:p>
            <a:endParaRPr lang="en-CH"/>
          </a:p>
        </p:txBody>
      </p:sp>
      <p:sp>
        <p:nvSpPr>
          <p:cNvPr id="19" name="Source">
            <a:extLst>
              <a:ext uri="{FF2B5EF4-FFF2-40B4-BE49-F238E27FC236}">
                <a16:creationId xmlns:a16="http://schemas.microsoft.com/office/drawing/2014/main" id="{B66869F5-2593-4AAE-AEB0-2A171190A3E7}"/>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20" name="Head">
            <a:extLst>
              <a:ext uri="{FF2B5EF4-FFF2-40B4-BE49-F238E27FC236}">
                <a16:creationId xmlns:a16="http://schemas.microsoft.com/office/drawing/2014/main" id="{AE8B6E00-C4C5-4349-905F-F277424376FB}"/>
              </a:ext>
            </a:extLst>
          </p:cNvPr>
          <p:cNvSpPr>
            <a:spLocks noGrp="1"/>
          </p:cNvSpPr>
          <p:nvPr>
            <p:ph type="body" sz="quarter" idx="18"/>
          </p:nvPr>
        </p:nvSpPr>
        <p:spPr>
          <a:xfrm>
            <a:off x="503238" y="774000"/>
            <a:ext cx="8136762" cy="360000"/>
          </a:xfrm>
        </p:spPr>
        <p:txBody>
          <a:bodyPr/>
          <a:lstStyle/>
          <a:p>
            <a:r>
              <a:rPr lang="en-US" dirty="0"/>
              <a:t>Hershey's | Price Elasticity | Panda | Assumes no other products are changing prices</a:t>
            </a:r>
          </a:p>
        </p:txBody>
      </p:sp>
      <p:sp>
        <p:nvSpPr>
          <p:cNvPr id="18" name="Title 17">
            <a:extLst>
              <a:ext uri="{FF2B5EF4-FFF2-40B4-BE49-F238E27FC236}">
                <a16:creationId xmlns:a16="http://schemas.microsoft.com/office/drawing/2014/main" id="{662DF70D-9262-4AEF-8B16-49E07B2AE3F1}"/>
              </a:ext>
            </a:extLst>
          </p:cNvPr>
          <p:cNvSpPr>
            <a:spLocks noGrp="1"/>
          </p:cNvSpPr>
          <p:nvPr>
            <p:ph type="title"/>
          </p:nvPr>
        </p:nvSpPr>
        <p:spPr>
          <a:xfrm>
            <a:off x="504000" y="-1"/>
            <a:ext cx="8136000" cy="771525"/>
          </a:xfrm>
        </p:spPr>
        <p:txBody>
          <a:bodyPr/>
          <a:lstStyle/>
          <a:p>
            <a:r>
              <a:rPr lang="fr-CH" dirty="0">
                <a:highlight>
                  <a:srgbClr val="FFFF00"/>
                </a:highlight>
              </a:rPr>
              <a:t>Price </a:t>
            </a:r>
            <a:r>
              <a:rPr lang="fr-CH" dirty="0" err="1">
                <a:highlight>
                  <a:srgbClr val="FFFF00"/>
                </a:highlight>
              </a:rPr>
              <a:t>Elasticity</a:t>
            </a:r>
            <a:r>
              <a:rPr lang="fr-CH" dirty="0">
                <a:highlight>
                  <a:srgbClr val="FFFF00"/>
                </a:highlight>
              </a:rPr>
              <a:t> </a:t>
            </a:r>
            <a:r>
              <a:rPr lang="fr-CH" dirty="0" err="1">
                <a:highlight>
                  <a:srgbClr val="FFFF00"/>
                </a:highlight>
              </a:rPr>
              <a:t>Curve</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4" name="T1">
            <a:extLst>
              <a:ext uri="{FF2B5EF4-FFF2-40B4-BE49-F238E27FC236}">
                <a16:creationId xmlns:a16="http://schemas.microsoft.com/office/drawing/2014/main" id="{7FAA56DE-2049-4FA3-ACEE-0539D06C6FC9}"/>
              </a:ext>
            </a:extLst>
          </p:cNvPr>
          <p:cNvGraphicFramePr>
            <a:graphicFrameLocks/>
          </p:cNvGraphicFramePr>
          <p:nvPr>
            <p:extLst>
              <p:ext uri="{D42A27DB-BD31-4B8C-83A1-F6EECF244321}">
                <p14:modId xmlns:p14="http://schemas.microsoft.com/office/powerpoint/2010/main" val="3293645329"/>
              </p:ext>
            </p:extLst>
          </p:nvPr>
        </p:nvGraphicFramePr>
        <p:xfrm>
          <a:off x="4579258" y="1141495"/>
          <a:ext cx="4057904" cy="1610758"/>
        </p:xfrm>
        <a:graphic>
          <a:graphicData uri="http://schemas.openxmlformats.org/drawingml/2006/table">
            <a:tbl>
              <a:tblPr bandRow="1"/>
              <a:tblGrid>
                <a:gridCol w="162560">
                  <a:extLst>
                    <a:ext uri="{9D8B030D-6E8A-4147-A177-3AD203B41FA5}">
                      <a16:colId xmlns:a16="http://schemas.microsoft.com/office/drawing/2014/main" val="20000"/>
                    </a:ext>
                  </a:extLst>
                </a:gridCol>
                <a:gridCol w="1982932">
                  <a:extLst>
                    <a:ext uri="{9D8B030D-6E8A-4147-A177-3AD203B41FA5}">
                      <a16:colId xmlns:a16="http://schemas.microsoft.com/office/drawing/2014/main" val="20001"/>
                    </a:ext>
                  </a:extLst>
                </a:gridCol>
                <a:gridCol w="478103">
                  <a:extLst>
                    <a:ext uri="{9D8B030D-6E8A-4147-A177-3AD203B41FA5}">
                      <a16:colId xmlns:a16="http://schemas.microsoft.com/office/drawing/2014/main" val="20002"/>
                    </a:ext>
                  </a:extLst>
                </a:gridCol>
                <a:gridCol w="478103">
                  <a:extLst>
                    <a:ext uri="{9D8B030D-6E8A-4147-A177-3AD203B41FA5}">
                      <a16:colId xmlns:a16="http://schemas.microsoft.com/office/drawing/2014/main" val="20003"/>
                    </a:ext>
                  </a:extLst>
                </a:gridCol>
                <a:gridCol w="478103">
                  <a:extLst>
                    <a:ext uri="{9D8B030D-6E8A-4147-A177-3AD203B41FA5}">
                      <a16:colId xmlns:a16="http://schemas.microsoft.com/office/drawing/2014/main" val="1774582163"/>
                    </a:ext>
                  </a:extLst>
                </a:gridCol>
                <a:gridCol w="478103">
                  <a:extLst>
                    <a:ext uri="{9D8B030D-6E8A-4147-A177-3AD203B41FA5}">
                      <a16:colId xmlns:a16="http://schemas.microsoft.com/office/drawing/2014/main" val="506562406"/>
                    </a:ext>
                  </a:extLst>
                </a:gridCol>
              </a:tblGrid>
              <a:tr h="3886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b="1" i="0">
                        <a:solidFill>
                          <a:schemeClr val="tx2"/>
                        </a:solidFill>
                        <a:latin typeface="+mj-lt"/>
                        <a:ea typeface="Open Sans" panose="020B0606030504020204" pitchFamily="34" charset="0"/>
                        <a:cs typeface="Open Sans" panose="020B0606030504020204" pitchFamily="34" charset="0"/>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Price Elasticity</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Down-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Up-Pricing</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P12M </a:t>
                      </a:r>
                      <a:r>
                        <a:rPr lang="fr-CH" sz="700" b="1" i="0" err="1">
                          <a:solidFill>
                            <a:schemeClr val="tx2"/>
                          </a:solidFill>
                          <a:latin typeface="Nexa Bold" panose="00000800000000000000" pitchFamily="2" charset="0"/>
                          <a:ea typeface="Open Sans" panose="020B0606030504020204" pitchFamily="34" charset="0"/>
                          <a:cs typeface="Open Sans" panose="020B0606030504020204" pitchFamily="34" charset="0"/>
                        </a:rPr>
                        <a:t>Weight</a:t>
                      </a:r>
                      <a:r>
                        <a:rPr lang="fr-CH" sz="700" b="1" i="0">
                          <a:solidFill>
                            <a:schemeClr val="tx2"/>
                          </a:solidFill>
                          <a:latin typeface="Nexa Bold" panose="00000800000000000000" pitchFamily="2" charset="0"/>
                          <a:ea typeface="Open Sans" panose="020B0606030504020204" pitchFamily="34" charset="0"/>
                          <a:cs typeface="Open Sans" panose="020B0606030504020204" pitchFamily="34" charset="0"/>
                        </a:rPr>
                        <a:t> of Business</a:t>
                      </a:r>
                      <a:endParaRPr lang="en-GB" sz="700" b="1" i="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P12M Gross </a:t>
                      </a:r>
                      <a:r>
                        <a:rPr lang="fr-CH" sz="700" b="1" i="0" dirty="0" err="1">
                          <a:solidFill>
                            <a:schemeClr val="tx2"/>
                          </a:solidFill>
                          <a:latin typeface="Nexa Bold" panose="00000800000000000000" pitchFamily="2" charset="0"/>
                          <a:ea typeface="Open Sans" panose="020B0606030504020204" pitchFamily="34" charset="0"/>
                          <a:cs typeface="Open Sans" panose="020B0606030504020204" pitchFamily="34" charset="0"/>
                        </a:rPr>
                        <a:t>Margin</a:t>
                      </a:r>
                      <a:r>
                        <a:rPr lang="fr-CH" sz="700" b="1" i="0" dirty="0">
                          <a:solidFill>
                            <a:schemeClr val="tx2"/>
                          </a:solidFill>
                          <a:latin typeface="Nexa Bold" panose="00000800000000000000" pitchFamily="2" charset="0"/>
                          <a:ea typeface="Open Sans" panose="020B0606030504020204" pitchFamily="34" charset="0"/>
                          <a:cs typeface="Open Sans" panose="020B0606030504020204" pitchFamily="34" charset="0"/>
                        </a:rPr>
                        <a:t>%</a:t>
                      </a:r>
                      <a:endParaRPr lang="en-GB" sz="700" b="1" i="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34290" marR="34290" marT="34290" marB="3429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4407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hoco Tubes Cookies N' Creme 18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4.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9</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0.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a:ln>
                            <a:noFill/>
                          </a:ln>
                          <a:solidFill>
                            <a:srgbClr val="575555"/>
                          </a:solidFill>
                          <a:effectLst/>
                          <a:uLnTx/>
                          <a:uFillTx/>
                          <a:latin typeface="Nexa Book" panose="00000400000000000000" pitchFamily="2" charset="0"/>
                          <a:ea typeface="+mn-ea"/>
                          <a:cs typeface="+mn-cs"/>
                        </a:rPr>
                        <a:t>37%</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6854839"/>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a:solidFill>
                            <a:srgbClr val="575555"/>
                          </a:solidFill>
                          <a:latin typeface="Nexa Book"/>
                        </a:rPr>
                        <a:t>Hershey's Cookies N' Chocolate 40g</a:t>
                      </a:r>
                      <a:endParaRPr kumimoji="0" lang="en-US" sz="800" b="0" i="0" u="none" strike="noStrike" kern="1200" cap="none" spc="0" normalizeH="0" baseline="0" noProof="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1.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8</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12.1%</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138%</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719727"/>
                  </a:ext>
                </a:extLst>
              </a:tr>
              <a:tr h="144079">
                <a:tc>
                  <a:txBody>
                    <a:bodyPr/>
                    <a:lstStyle/>
                    <a:p>
                      <a:endParaRPr lang="en-GB" sz="8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800" b="0" dirty="0">
                          <a:solidFill>
                            <a:srgbClr val="575555"/>
                          </a:solidFill>
                          <a:latin typeface="Nexa Book"/>
                        </a:rPr>
                        <a:t>Hershey's Cookies N' Crème 12.76g</a:t>
                      </a: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sz="800" b="0">
                          <a:solidFill>
                            <a:srgbClr val="575555"/>
                          </a:solidFill>
                          <a:latin typeface="Nexa Book"/>
                        </a:rPr>
                        <a:t>-2.0</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r>
                        <a:rPr sz="800" b="0">
                          <a:solidFill>
                            <a:srgbClr val="575555"/>
                          </a:solidFill>
                          <a:latin typeface="Nexa Book"/>
                        </a:rPr>
                        <a:t>-1.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fr-CH" sz="800" dirty="0">
                          <a:solidFill>
                            <a:srgbClr val="575555"/>
                          </a:solidFill>
                          <a:latin typeface="Nexa Book" panose="00000400000000000000" pitchFamily="2" charset="0"/>
                        </a:rPr>
                        <a:t>5.2%</a:t>
                      </a: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r>
                        <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rPr>
                        <a:t>-4%</a:t>
                      </a: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99285"/>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4974948"/>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6696720"/>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723459"/>
                  </a:ext>
                </a:extLst>
              </a:tr>
              <a:tr h="144079">
                <a:tc>
                  <a:txBody>
                    <a:bodyPr/>
                    <a:lstStyle/>
                    <a:p>
                      <a:endParaRPr lang="en-GB"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006C6D"/>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2"/>
                        </a:solidFill>
                        <a:effectLst/>
                        <a:uLnTx/>
                        <a:uFillTx/>
                        <a:latin typeface="Nexa Book" panose="000004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rgbClr val="7ECAC4"/>
                    </a:solidFill>
                  </a:tcPr>
                </a:tc>
                <a:tc>
                  <a:txBody>
                    <a:bodyPr/>
                    <a:lstStyle/>
                    <a:p>
                      <a:pPr algn="ctr" fontAlgn="b"/>
                      <a:endParaRPr sz="800" b="0" dirty="0">
                        <a:solidFill>
                          <a:srgbClr val="575555"/>
                        </a:solidFill>
                        <a:latin typeface="Nexa Book"/>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fr-CH" sz="800" dirty="0">
                        <a:solidFill>
                          <a:srgbClr val="575555"/>
                        </a:solidFill>
                        <a:latin typeface="Nexa Book" panose="00000400000000000000" pitchFamily="2" charset="0"/>
                      </a:endParaRPr>
                    </a:p>
                  </a:txBody>
                  <a:tcPr marL="2858" marR="2858" marT="2858"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b" latinLnBrk="0" hangingPunct="1">
                        <a:lnSpc>
                          <a:spcPct val="100000"/>
                        </a:lnSpc>
                        <a:spcBef>
                          <a:spcPts val="0"/>
                        </a:spcBef>
                        <a:spcAft>
                          <a:spcPts val="0"/>
                        </a:spcAft>
                        <a:buClrTx/>
                        <a:buSzTx/>
                        <a:buFontTx/>
                        <a:buNone/>
                        <a:tabLst/>
                        <a:defRPr/>
                      </a:pPr>
                      <a:endParaRPr kumimoji="0" lang="fr-CH" sz="800" b="0" i="0" u="none" strike="noStrike" kern="1200" cap="none" spc="0" normalizeH="0" baseline="0" noProof="0" dirty="0">
                        <a:ln>
                          <a:noFill/>
                        </a:ln>
                        <a:solidFill>
                          <a:srgbClr val="575555"/>
                        </a:solidFill>
                        <a:effectLst/>
                        <a:uLnTx/>
                        <a:uFillTx/>
                        <a:latin typeface="Nexa Book" panose="00000400000000000000" pitchFamily="2" charset="0"/>
                        <a:ea typeface="+mn-ea"/>
                        <a:cs typeface="+mn-cs"/>
                      </a:endParaRPr>
                    </a:p>
                  </a:txBody>
                  <a:tcPr marL="2858" marR="2858" marT="2858"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rgbClr val="B0AFAF"/>
                      </a:solidFill>
                      <a:prstDash val="sysDot"/>
                      <a:round/>
                      <a:headEnd type="none" w="med" len="med"/>
                      <a:tailEnd type="none" w="med" len="med"/>
                    </a:lnT>
                    <a:lnB w="6350" cap="flat" cmpd="sng" algn="ctr">
                      <a:solidFill>
                        <a:srgbClr val="B0AFA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5359843"/>
                  </a:ext>
                </a:extLst>
              </a:tr>
            </a:tbl>
          </a:graphicData>
        </a:graphic>
      </p:graphicFrame>
      <p:graphicFrame>
        <p:nvGraphicFramePr>
          <p:cNvPr id="8" name="C1">
            <a:extLst>
              <a:ext uri="{FF2B5EF4-FFF2-40B4-BE49-F238E27FC236}">
                <a16:creationId xmlns:a16="http://schemas.microsoft.com/office/drawing/2014/main" id="{142F8E45-DF9F-70FD-E1A1-B32C0C00B7FD}"/>
              </a:ext>
            </a:extLst>
          </p:cNvPr>
          <p:cNvGraphicFramePr>
            <a:graphicFrameLocks/>
          </p:cNvGraphicFramePr>
          <p:nvPr>
            <p:extLst>
              <p:ext uri="{D42A27DB-BD31-4B8C-83A1-F6EECF244321}">
                <p14:modId xmlns:p14="http://schemas.microsoft.com/office/powerpoint/2010/main" val="2756148373"/>
              </p:ext>
            </p:extLst>
          </p:nvPr>
        </p:nvGraphicFramePr>
        <p:xfrm>
          <a:off x="539749" y="1152000"/>
          <a:ext cx="4112080" cy="3620027"/>
        </p:xfrm>
        <a:graphic>
          <a:graphicData uri="http://schemas.openxmlformats.org/drawingml/2006/chart">
            <c:chart xmlns:c="http://schemas.openxmlformats.org/drawingml/2006/chart" xmlns:r="http://schemas.openxmlformats.org/officeDocument/2006/relationships" r:id="rId2"/>
          </a:graphicData>
        </a:graphic>
      </p:graphicFrame>
      <p:sp>
        <p:nvSpPr>
          <p:cNvPr id="2" name="Date Placeholder 1">
            <a:extLst>
              <a:ext uri="{FF2B5EF4-FFF2-40B4-BE49-F238E27FC236}">
                <a16:creationId xmlns:a16="http://schemas.microsoft.com/office/drawing/2014/main" id="{64AE8BA3-5407-EF96-4779-8B4142901C8C}"/>
              </a:ext>
            </a:extLst>
          </p:cNvPr>
          <p:cNvSpPr>
            <a:spLocks noGrp="1"/>
          </p:cNvSpPr>
          <p:nvPr>
            <p:ph type="dt" sz="half" idx="14"/>
          </p:nvPr>
        </p:nvSpPr>
        <p:spPr/>
        <p:txBody>
          <a:bodyPr/>
          <a:lstStyle/>
          <a:p>
            <a:fld id="{C2150E0F-65BF-4754-A874-587658C88696}" type="datetime1">
              <a:rPr lang="en-US" smtClean="0"/>
              <a:t>7/25/2025</a:t>
            </a:fld>
            <a:endParaRPr lang="en-US"/>
          </a:p>
        </p:txBody>
      </p:sp>
      <p:sp>
        <p:nvSpPr>
          <p:cNvPr id="4" name="Slide Number Placeholder 3">
            <a:extLst>
              <a:ext uri="{FF2B5EF4-FFF2-40B4-BE49-F238E27FC236}">
                <a16:creationId xmlns:a16="http://schemas.microsoft.com/office/drawing/2014/main" id="{38F37727-F8BB-192D-2020-2C6D642643A2}"/>
              </a:ext>
            </a:extLst>
          </p:cNvPr>
          <p:cNvSpPr>
            <a:spLocks noGrp="1"/>
          </p:cNvSpPr>
          <p:nvPr>
            <p:ph type="sldNum" sz="quarter" idx="16"/>
          </p:nvPr>
        </p:nvSpPr>
        <p:spPr/>
        <p:txBody>
          <a:bodyPr/>
          <a:lstStyle/>
          <a:p>
            <a:fld id="{7B1F438D-4EAF-094E-9162-80CF3EF77236}" type="slidenum">
              <a:rPr lang="en-US" smtClean="0"/>
              <a:pPr/>
              <a:t>91</a:t>
            </a:fld>
            <a:endParaRPr lang="en-US"/>
          </a:p>
        </p:txBody>
      </p:sp>
      <p:sp>
        <p:nvSpPr>
          <p:cNvPr id="3" name="TextBox Y">
            <a:extLst>
              <a:ext uri="{FF2B5EF4-FFF2-40B4-BE49-F238E27FC236}">
                <a16:creationId xmlns:a16="http://schemas.microsoft.com/office/drawing/2014/main" id="{7D2E7C05-F61B-2FB2-C0E0-DFEF3CD2F4A3}"/>
              </a:ext>
            </a:extLst>
          </p:cNvPr>
          <p:cNvSpPr txBox="1"/>
          <p:nvPr/>
        </p:nvSpPr>
        <p:spPr>
          <a:xfrm>
            <a:off x="517719" y="1098243"/>
            <a:ext cx="564369"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 change In volume share</a:t>
            </a:r>
            <a:endParaRPr kumimoji="0" sz="800" b="0" i="0" u="none" strike="noStrike" kern="1200" cap="none" spc="0" normalizeH="0" baseline="0" noProof="0" dirty="0">
              <a:ln>
                <a:noFill/>
              </a:ln>
              <a:solidFill>
                <a:schemeClr val="tx2"/>
              </a:solidFill>
              <a:effectLst/>
              <a:uLnTx/>
              <a:uFillTx/>
              <a:latin typeface="Nexa Bold"/>
              <a:ea typeface="+mn-ea"/>
              <a:cs typeface="+mn-cs"/>
            </a:endParaRPr>
          </a:p>
        </p:txBody>
      </p:sp>
    </p:spTree>
    <p:extLst>
      <p:ext uri="{BB962C8B-B14F-4D97-AF65-F5344CB8AC3E}">
        <p14:creationId xmlns:p14="http://schemas.microsoft.com/office/powerpoint/2010/main" val="526088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2</a:t>
            </a:fld>
            <a:endParaRPr lang="en-US"/>
          </a:p>
        </p:txBody>
      </p:sp>
    </p:spTree>
    <p:extLst>
      <p:ext uri="{BB962C8B-B14F-4D97-AF65-F5344CB8AC3E}">
        <p14:creationId xmlns:p14="http://schemas.microsoft.com/office/powerpoint/2010/main" val="1846939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3</a:t>
            </a:fld>
            <a:endParaRPr lang="en-US"/>
          </a:p>
        </p:txBody>
      </p:sp>
    </p:spTree>
    <p:extLst>
      <p:ext uri="{BB962C8B-B14F-4D97-AF65-F5344CB8AC3E}">
        <p14:creationId xmlns:p14="http://schemas.microsoft.com/office/powerpoint/2010/main" val="36983459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4</a:t>
            </a:fld>
            <a:endParaRPr lang="en-US"/>
          </a:p>
        </p:txBody>
      </p:sp>
    </p:spTree>
    <p:extLst>
      <p:ext uri="{BB962C8B-B14F-4D97-AF65-F5344CB8AC3E}">
        <p14:creationId xmlns:p14="http://schemas.microsoft.com/office/powerpoint/2010/main" val="235978554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5</a:t>
            </a:fld>
            <a:endParaRPr lang="en-US"/>
          </a:p>
        </p:txBody>
      </p:sp>
    </p:spTree>
    <p:extLst>
      <p:ext uri="{BB962C8B-B14F-4D97-AF65-F5344CB8AC3E}">
        <p14:creationId xmlns:p14="http://schemas.microsoft.com/office/powerpoint/2010/main" val="35988579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6</a:t>
            </a:fld>
            <a:endParaRPr lang="en-US"/>
          </a:p>
        </p:txBody>
      </p:sp>
    </p:spTree>
    <p:extLst>
      <p:ext uri="{BB962C8B-B14F-4D97-AF65-F5344CB8AC3E}">
        <p14:creationId xmlns:p14="http://schemas.microsoft.com/office/powerpoint/2010/main" val="148125921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7</a:t>
            </a:fld>
            <a:endParaRPr lang="en-US"/>
          </a:p>
        </p:txBody>
      </p:sp>
    </p:spTree>
    <p:extLst>
      <p:ext uri="{BB962C8B-B14F-4D97-AF65-F5344CB8AC3E}">
        <p14:creationId xmlns:p14="http://schemas.microsoft.com/office/powerpoint/2010/main" val="309584170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8</a:t>
            </a:fld>
            <a:endParaRPr lang="en-US"/>
          </a:p>
        </p:txBody>
      </p:sp>
    </p:spTree>
    <p:extLst>
      <p:ext uri="{BB962C8B-B14F-4D97-AF65-F5344CB8AC3E}">
        <p14:creationId xmlns:p14="http://schemas.microsoft.com/office/powerpoint/2010/main" val="39162217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583C48E-4E1D-78CD-8C57-F46758431EF1}"/>
              </a:ext>
            </a:extLst>
          </p:cNvPr>
          <p:cNvSpPr>
            <a:spLocks noGrp="1"/>
          </p:cNvSpPr>
          <p:nvPr>
            <p:ph type="ftr" sz="quarter" idx="15"/>
          </p:nvPr>
        </p:nvSpPr>
        <p:spPr>
          <a:xfrm>
            <a:off x="546969" y="4970700"/>
            <a:ext cx="6451742" cy="174151"/>
          </a:xfrm>
        </p:spPr>
        <p:txBody>
          <a:bodyPr/>
          <a:lstStyle/>
          <a:p>
            <a:endParaRPr lang="en-CH" dirty="0"/>
          </a:p>
        </p:txBody>
      </p:sp>
      <p:sp>
        <p:nvSpPr>
          <p:cNvPr id="15" name="Source">
            <a:extLst>
              <a:ext uri="{FF2B5EF4-FFF2-40B4-BE49-F238E27FC236}">
                <a16:creationId xmlns:a16="http://schemas.microsoft.com/office/drawing/2014/main" id="{9457A52F-A28D-412F-ABE6-85638B87C82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4" name="Head">
            <a:extLst>
              <a:ext uri="{FF2B5EF4-FFF2-40B4-BE49-F238E27FC236}">
                <a16:creationId xmlns:a16="http://schemas.microsoft.com/office/drawing/2014/main" id="{0B6C3561-20D3-C188-4047-5EBFF3CBC4B5}"/>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Revenue Response Curve by Price Point | Hershey's Choco Tubes Cookies N' Creme 18g | Panda | Assuming no other products are changing prices</a:t>
            </a:r>
          </a:p>
        </p:txBody>
      </p:sp>
      <p:sp>
        <p:nvSpPr>
          <p:cNvPr id="10" name="Title 9">
            <a:extLst>
              <a:ext uri="{FF2B5EF4-FFF2-40B4-BE49-F238E27FC236}">
                <a16:creationId xmlns:a16="http://schemas.microsoft.com/office/drawing/2014/main" id="{A3CA3219-B231-42B0-BF09-F98B3A192AF3}"/>
              </a:ext>
            </a:extLst>
          </p:cNvPr>
          <p:cNvSpPr>
            <a:spLocks noGrp="1"/>
          </p:cNvSpPr>
          <p:nvPr>
            <p:ph type="title"/>
          </p:nvPr>
        </p:nvSpPr>
        <p:spPr>
          <a:xfrm>
            <a:off x="504000" y="-1"/>
            <a:ext cx="8136000" cy="771525"/>
          </a:xfrm>
        </p:spPr>
        <p:txBody>
          <a:bodyPr/>
          <a:lstStyle/>
          <a:p>
            <a:r>
              <a:rPr lang="en-US" dirty="0">
                <a:highlight>
                  <a:srgbClr val="FFFF00"/>
                </a:highlight>
              </a:rPr>
              <a:t>Revenue Response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1" name="C1">
            <a:extLst>
              <a:ext uri="{FF2B5EF4-FFF2-40B4-BE49-F238E27FC236}">
                <a16:creationId xmlns:a16="http://schemas.microsoft.com/office/drawing/2014/main" id="{F47ABEA7-12B2-F4BB-D71E-2AAAD3E11997}"/>
              </a:ext>
            </a:extLst>
          </p:cNvPr>
          <p:cNvGraphicFramePr/>
          <p:nvPr>
            <p:extLst>
              <p:ext uri="{D42A27DB-BD31-4B8C-83A1-F6EECF244321}">
                <p14:modId xmlns:p14="http://schemas.microsoft.com/office/powerpoint/2010/main" val="4235438503"/>
              </p:ext>
            </p:extLst>
          </p:nvPr>
        </p:nvGraphicFramePr>
        <p:xfrm>
          <a:off x="540001" y="1131888"/>
          <a:ext cx="6516966" cy="359965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1">
            <a:extLst>
              <a:ext uri="{FF2B5EF4-FFF2-40B4-BE49-F238E27FC236}">
                <a16:creationId xmlns:a16="http://schemas.microsoft.com/office/drawing/2014/main" id="{538872B8-F05A-4EB9-8208-B8F7249405C0}"/>
              </a:ext>
            </a:extLst>
          </p:cNvPr>
          <p:cNvSpPr txBox="1">
            <a:spLocks/>
          </p:cNvSpPr>
          <p:nvPr/>
        </p:nvSpPr>
        <p:spPr>
          <a:xfrm>
            <a:off x="540000" y="135000"/>
            <a:ext cx="8100000" cy="61722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400" b="1" i="0" kern="1200">
                <a:solidFill>
                  <a:srgbClr val="006D6F"/>
                </a:solidFill>
                <a:latin typeface="Nexa Bold" pitchFamily="2" charset="77"/>
                <a:ea typeface="+mj-ea"/>
                <a:cs typeface="+mj-cs"/>
              </a:defRPr>
            </a:lvl1pPr>
          </a:lstStyle>
          <a:p>
            <a:pPr defTabSz="685783">
              <a:defRPr/>
            </a:pPr>
            <a:endParaRPr lang="en-AE" sz="1800">
              <a:latin typeface="Nexa Bold"/>
            </a:endParaRPr>
          </a:p>
        </p:txBody>
      </p:sp>
      <p:sp>
        <p:nvSpPr>
          <p:cNvPr id="19" name="Rectangle: Rounded Corners 4">
            <a:extLst>
              <a:ext uri="{FF2B5EF4-FFF2-40B4-BE49-F238E27FC236}">
                <a16:creationId xmlns:a16="http://schemas.microsoft.com/office/drawing/2014/main" id="{D3AF61F2-E84A-209A-C988-A1397B586E87}"/>
              </a:ext>
            </a:extLst>
          </p:cNvPr>
          <p:cNvSpPr/>
          <p:nvPr/>
        </p:nvSpPr>
        <p:spPr>
          <a:xfrm>
            <a:off x="7056967" y="1131888"/>
            <a:ext cx="1589893" cy="359965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135000" rIns="135000" bIns="135000" rtlCol="0" anchor="ctr"/>
          <a:lstStyle/>
          <a:p>
            <a:pPr marL="133347" indent="-133347" algn="just" defTabSz="685766">
              <a:spcBef>
                <a:spcPts val="450"/>
              </a:spcBef>
              <a:spcAft>
                <a:spcPts val="900"/>
              </a:spcAft>
              <a:buFont typeface="Arial" panose="020B0604020202020204" pitchFamily="34" charset="0"/>
              <a:buChar char="•"/>
              <a:defRPr/>
            </a:pPr>
            <a:endParaRPr lang="en-US" sz="105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8" name="Freeform 66">
            <a:extLst>
              <a:ext uri="{FF2B5EF4-FFF2-40B4-BE49-F238E27FC236}">
                <a16:creationId xmlns:a16="http://schemas.microsoft.com/office/drawing/2014/main" id="{5333C352-B192-37EB-4449-EF077F53A507}"/>
              </a:ext>
            </a:extLst>
          </p:cNvPr>
          <p:cNvSpPr>
            <a:spLocks/>
          </p:cNvSpPr>
          <p:nvPr/>
        </p:nvSpPr>
        <p:spPr bwMode="auto">
          <a:xfrm>
            <a:off x="6727831" y="2610092"/>
            <a:ext cx="8657" cy="5379"/>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noAutofit/>
          </a:bodyPr>
          <a:lstStyle/>
          <a:p>
            <a:pPr defTabSz="914288" fontAlgn="base">
              <a:spcBef>
                <a:spcPct val="0"/>
              </a:spcBef>
              <a:spcAft>
                <a:spcPct val="0"/>
              </a:spcAft>
              <a:defRPr/>
            </a:pPr>
            <a:endParaRPr lang="en-GB" sz="920" kern="0">
              <a:solidFill>
                <a:srgbClr val="575555"/>
              </a:solidFill>
              <a:latin typeface="Arial" charset="0"/>
              <a:ea typeface="ＭＳ Ｐゴシック"/>
            </a:endParaRPr>
          </a:p>
        </p:txBody>
      </p:sp>
      <p:sp>
        <p:nvSpPr>
          <p:cNvPr id="2" name="Date Placeholder 1">
            <a:extLst>
              <a:ext uri="{FF2B5EF4-FFF2-40B4-BE49-F238E27FC236}">
                <a16:creationId xmlns:a16="http://schemas.microsoft.com/office/drawing/2014/main" id="{61FEF3FC-9BBE-CA66-E194-D6B1A9339E80}"/>
              </a:ext>
            </a:extLst>
          </p:cNvPr>
          <p:cNvSpPr>
            <a:spLocks noGrp="1"/>
          </p:cNvSpPr>
          <p:nvPr>
            <p:ph type="dt" sz="half" idx="14"/>
          </p:nvPr>
        </p:nvSpPr>
        <p:spPr/>
        <p:txBody>
          <a:bodyPr/>
          <a:lstStyle/>
          <a:p>
            <a:fld id="{7FE604EA-FBB6-4FDB-AFE2-9A23405DCB69}" type="datetime1">
              <a:rPr lang="en-US" smtClean="0"/>
              <a:t>7/25/2025</a:t>
            </a:fld>
            <a:endParaRPr lang="en-US"/>
          </a:p>
        </p:txBody>
      </p:sp>
      <p:sp>
        <p:nvSpPr>
          <p:cNvPr id="7" name="Slide Number Placeholder 6">
            <a:extLst>
              <a:ext uri="{FF2B5EF4-FFF2-40B4-BE49-F238E27FC236}">
                <a16:creationId xmlns:a16="http://schemas.microsoft.com/office/drawing/2014/main" id="{E5A4390A-8D73-75DC-DE87-6E6E8F881F50}"/>
              </a:ext>
            </a:extLst>
          </p:cNvPr>
          <p:cNvSpPr>
            <a:spLocks noGrp="1"/>
          </p:cNvSpPr>
          <p:nvPr>
            <p:ph type="sldNum" sz="quarter" idx="16"/>
          </p:nvPr>
        </p:nvSpPr>
        <p:spPr/>
        <p:txBody>
          <a:bodyPr/>
          <a:lstStyle/>
          <a:p>
            <a:fld id="{7B1F438D-4EAF-094E-9162-80CF3EF77236}" type="slidenum">
              <a:rPr lang="en-US" smtClean="0"/>
              <a:pPr/>
              <a:t>99</a:t>
            </a:fld>
            <a:endParaRPr lang="en-US"/>
          </a:p>
        </p:txBody>
      </p:sp>
    </p:spTree>
    <p:extLst>
      <p:ext uri="{BB962C8B-B14F-4D97-AF65-F5344CB8AC3E}">
        <p14:creationId xmlns:p14="http://schemas.microsoft.com/office/powerpoint/2010/main" val="3187908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1_PricingOne">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sz="1600" dirty="0">
            <a:solidFill>
              <a:schemeClr val="bg1"/>
            </a:solidFill>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alpha val="50000"/>
          </a:schemeClr>
        </a:solidFill>
        <a:ln>
          <a:noFill/>
        </a:ln>
      </a:spPr>
      <a:bodyPr wrap="square" lIns="36000" tIns="36000" rIns="36000" bIns="36000" rtlCol="0" anchor="ctr">
        <a:spAutoFit/>
      </a:bodyPr>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oject Presentation New Fixed Template- version Jan 2024.pptx" id="{C36FA16A-A7B2-4300-B4A4-8F34C8763386}" vid="{3E883448-0EC3-47CF-AF68-33978396B0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A92BC9-469E-4F29-BBD5-BD59EEFFE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29D19D-4CBF-414A-A8B5-FF7BFF091E24}">
  <ds:schemaRefs>
    <ds:schemaRef ds:uri="http://www.w3.org/XML/1998/namespace"/>
    <ds:schemaRef ds:uri="http://purl.org/dc/terms/"/>
    <ds:schemaRef ds:uri="http://purl.org/dc/elements/1.1/"/>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0ad93b7f-b0cd-4c46-aaaf-ff14495948cf"/>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8D7B908-B0DA-4AEE-8D52-892C7A4A76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8</Words>
  <Application>Microsoft Office PowerPoint</Application>
  <PresentationFormat>On-screen Show (16:9)</PresentationFormat>
  <Paragraphs>5272</Paragraphs>
  <Slides>14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4</vt:i4>
      </vt:variant>
    </vt:vector>
  </HeadingPairs>
  <TitlesOfParts>
    <vt:vector size="155" baseType="lpstr">
      <vt:lpstr>Aptos</vt:lpstr>
      <vt:lpstr>Arial</vt:lpstr>
      <vt:lpstr>Cambria Math</vt:lpstr>
      <vt:lpstr>Nexa</vt:lpstr>
      <vt:lpstr>Nexa Bold</vt:lpstr>
      <vt:lpstr>Nexa Book</vt:lpstr>
      <vt:lpstr>Nexa Book Italic</vt:lpstr>
      <vt:lpstr>Open Sans</vt:lpstr>
      <vt:lpstr>PricingOne Light Template Oct 2024</vt:lpstr>
      <vt:lpstr>1_PricingOne</vt:lpstr>
      <vt:lpstr>think-cell Slide</vt:lpstr>
      <vt:lpstr>Brand Elasticity Analysis (Replace with SO WHAT)</vt:lpstr>
      <vt:lpstr>Brand Elasticity Analysis (Replace with SO WHAT)</vt:lpstr>
      <vt:lpstr>Brand Elasticity Analysis (Replace with SO WHAT)</vt:lpstr>
      <vt:lpstr>Brand Elasticity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Brand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oduct Sourcing Analysis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Price Elasticity Curve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Revenue Response Analysis (Replace with SO WHAT)</vt:lpstr>
      <vt:lpstr>SE Slide (Replace with So What)</vt:lpstr>
      <vt:lpstr>SE Slide (Replace with So What)</vt:lpstr>
      <vt:lpstr>SE Slide (Replace with So What)</vt:lpstr>
      <vt:lpstr>SE Slide (Replace with So What)</vt:lpstr>
      <vt:lpstr>SE Slid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09:12Z</dcterms:created>
  <dcterms:modified xsi:type="dcterms:W3CDTF">2025-07-25T06:5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